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300" r:id="rId5"/>
  </p:sldIdLst>
  <p:sldSz cx="7772400" cy="118872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300"/>
          </p14:sldIdLst>
        </p14:section>
      </p14:sectionLst>
    </p:ext>
    <p:ext uri="{EFAFB233-063F-42B5-8137-9DF3F51BA10A}">
      <p15:sldGuideLst xmlns:p15="http://schemas.microsoft.com/office/powerpoint/2012/main">
        <p15:guide id="10" pos="144" userDrawn="1">
          <p15:clr>
            <a:srgbClr val="A4A3A4"/>
          </p15:clr>
        </p15:guide>
        <p15:guide id="12" orient="horz" pos="227" userDrawn="1">
          <p15:clr>
            <a:srgbClr val="A4A3A4"/>
          </p15:clr>
        </p15:guide>
        <p15:guide id="14" pos="4728" userDrawn="1">
          <p15:clr>
            <a:srgbClr val="A4A3A4"/>
          </p15:clr>
        </p15:guide>
        <p15:guide id="20" orient="horz" pos="70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0"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33"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Mary Lisa Newman" initials="MLN [2]" lastIdx="2" clrIdx="19">
    <p:extLst>
      <p:ext uri="{19B8F6BF-5375-455C-9EA6-DF929625EA0E}">
        <p15:presenceInfo xmlns:p15="http://schemas.microsoft.com/office/powerpoint/2012/main" userId="S::marylisa@audienz.com::9c8cba21-67a1-4aa9-98ba-c4ca1eda0aa0" providerId="AD"/>
      </p:ext>
    </p:extLst>
  </p:cmAuthor>
  <p:cmAuthor id="20" name="Jimmy Balch" initials="JB" lastIdx="2" clrIdx="20">
    <p:extLst>
      <p:ext uri="{19B8F6BF-5375-455C-9EA6-DF929625EA0E}">
        <p15:presenceInfo xmlns:p15="http://schemas.microsoft.com/office/powerpoint/2012/main" userId="0ed399e9f15cba52" providerId="Windows Live"/>
      </p:ext>
    </p:extLst>
  </p:cmAuthor>
  <p:cmAuthor id="21" name="Jim Balch" initials="JB" lastIdx="1" clrIdx="21">
    <p:extLst>
      <p:ext uri="{19B8F6BF-5375-455C-9EA6-DF929625EA0E}">
        <p15:presenceInfo xmlns:p15="http://schemas.microsoft.com/office/powerpoint/2012/main" userId="S::jim@audienz.com::29be9760-d01f-4778-8d90-850da1818ff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A2E56"/>
    <a:srgbClr val="3B2E58"/>
    <a:srgbClr val="441D61"/>
    <a:srgbClr val="C1C1C1"/>
    <a:srgbClr val="FF0000"/>
    <a:srgbClr val="F2F2F2"/>
    <a:srgbClr val="0072C6"/>
    <a:srgbClr val="007EE2"/>
    <a:srgbClr val="464646"/>
    <a:srgbClr val="848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488F64-367E-40E8-9617-C4B9B44E632A}" v="7" dt="2020-06-22T19:33:36.960"/>
    <p1510:client id="{E7486C96-9DE3-1A48-B803-126EBAAE6750}" v="8" dt="2020-06-22T19:36:43.97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144"/>
        <p:guide orient="horz" pos="227"/>
        <p:guide pos="4728"/>
        <p:guide orient="horz" pos="7063"/>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cy Kosena" userId="34552e9c-390f-40b5-8a42-f626db2682ad" providerId="ADAL" clId="{E7486C96-9DE3-1A48-B803-126EBAAE6750}"/>
    <pc:docChg chg="undo custSel modSld">
      <pc:chgData name="Quincy Kosena" userId="34552e9c-390f-40b5-8a42-f626db2682ad" providerId="ADAL" clId="{E7486C96-9DE3-1A48-B803-126EBAAE6750}" dt="2020-06-22T19:36:43.973" v="7" actId="20577"/>
      <pc:docMkLst>
        <pc:docMk/>
      </pc:docMkLst>
      <pc:sldChg chg="modSp delCm">
        <pc:chgData name="Quincy Kosena" userId="34552e9c-390f-40b5-8a42-f626db2682ad" providerId="ADAL" clId="{E7486C96-9DE3-1A48-B803-126EBAAE6750}" dt="2020-06-22T19:36:43.973" v="7" actId="20577"/>
        <pc:sldMkLst>
          <pc:docMk/>
          <pc:sldMk cId="1054193557" sldId="300"/>
        </pc:sldMkLst>
        <pc:spChg chg="mod">
          <ac:chgData name="Quincy Kosena" userId="34552e9c-390f-40b5-8a42-f626db2682ad" providerId="ADAL" clId="{E7486C96-9DE3-1A48-B803-126EBAAE6750}" dt="2020-06-22T19:35:46.933" v="2" actId="207"/>
          <ac:spMkLst>
            <pc:docMk/>
            <pc:sldMk cId="1054193557" sldId="300"/>
            <ac:spMk id="18" creationId="{FE7C4657-5617-4972-9473-18E32A41BB01}"/>
          </ac:spMkLst>
        </pc:spChg>
        <pc:spChg chg="mod">
          <ac:chgData name="Quincy Kosena" userId="34552e9c-390f-40b5-8a42-f626db2682ad" providerId="ADAL" clId="{E7486C96-9DE3-1A48-B803-126EBAAE6750}" dt="2020-06-22T19:34:49.143" v="1" actId="1076"/>
          <ac:spMkLst>
            <pc:docMk/>
            <pc:sldMk cId="1054193557" sldId="300"/>
            <ac:spMk id="48" creationId="{E926BA49-F86D-4B67-88E9-355F928A93F6}"/>
          </ac:spMkLst>
        </pc:spChg>
        <pc:spChg chg="mod">
          <ac:chgData name="Quincy Kosena" userId="34552e9c-390f-40b5-8a42-f626db2682ad" providerId="ADAL" clId="{E7486C96-9DE3-1A48-B803-126EBAAE6750}" dt="2020-06-22T19:36:43.973" v="7" actId="20577"/>
          <ac:spMkLst>
            <pc:docMk/>
            <pc:sldMk cId="1054193557" sldId="300"/>
            <ac:spMk id="1398" creationId="{298C9A42-642C-4574-9757-CBFD1C83CD0E}"/>
          </ac:spMkLst>
        </pc:spChg>
      </pc:sldChg>
    </pc:docChg>
  </pc:docChgLst>
  <pc:docChgLst>
    <pc:chgData name="Travis Nesse" userId="7f5cd6f3-7534-4332-8f38-a3b44d62a5a5" providerId="ADAL" clId="{93488F64-367E-40E8-9617-C4B9B44E632A}"/>
    <pc:docChg chg="undo custSel addSld delSld modSld modSection">
      <pc:chgData name="Travis Nesse" userId="7f5cd6f3-7534-4332-8f38-a3b44d62a5a5" providerId="ADAL" clId="{93488F64-367E-40E8-9617-C4B9B44E632A}" dt="2020-06-22T19:33:36.960" v="135" actId="207"/>
      <pc:docMkLst>
        <pc:docMk/>
      </pc:docMkLst>
      <pc:sldChg chg="del addCm modCm">
        <pc:chgData name="Travis Nesse" userId="7f5cd6f3-7534-4332-8f38-a3b44d62a5a5" providerId="ADAL" clId="{93488F64-367E-40E8-9617-C4B9B44E632A}" dt="2020-06-22T18:36:18.667" v="34" actId="47"/>
        <pc:sldMkLst>
          <pc:docMk/>
          <pc:sldMk cId="34192605" sldId="299"/>
        </pc:sldMkLst>
      </pc:sldChg>
      <pc:sldChg chg="modSp add addCm delCm modCm">
        <pc:chgData name="Travis Nesse" userId="7f5cd6f3-7534-4332-8f38-a3b44d62a5a5" providerId="ADAL" clId="{93488F64-367E-40E8-9617-C4B9B44E632A}" dt="2020-06-22T19:33:36.960" v="135" actId="207"/>
        <pc:sldMkLst>
          <pc:docMk/>
          <pc:sldMk cId="1054193557" sldId="300"/>
        </pc:sldMkLst>
        <pc:spChg chg="mod">
          <ac:chgData name="Travis Nesse" userId="7f5cd6f3-7534-4332-8f38-a3b44d62a5a5" providerId="ADAL" clId="{93488F64-367E-40E8-9617-C4B9B44E632A}" dt="2020-06-22T19:04:45.382" v="73" actId="1036"/>
          <ac:spMkLst>
            <pc:docMk/>
            <pc:sldMk cId="1054193557" sldId="300"/>
            <ac:spMk id="13" creationId="{C151E294-F5DE-4764-8DDD-ECD703C8C432}"/>
          </ac:spMkLst>
        </pc:spChg>
        <pc:spChg chg="mod">
          <ac:chgData name="Travis Nesse" userId="7f5cd6f3-7534-4332-8f38-a3b44d62a5a5" providerId="ADAL" clId="{93488F64-367E-40E8-9617-C4B9B44E632A}" dt="2020-06-22T19:04:40.050" v="67" actId="14100"/>
          <ac:spMkLst>
            <pc:docMk/>
            <pc:sldMk cId="1054193557" sldId="300"/>
            <ac:spMk id="14" creationId="{774594CD-E609-4B0F-9177-64D71EFFA721}"/>
          </ac:spMkLst>
        </pc:spChg>
        <pc:spChg chg="mod">
          <ac:chgData name="Travis Nesse" userId="7f5cd6f3-7534-4332-8f38-a3b44d62a5a5" providerId="ADAL" clId="{93488F64-367E-40E8-9617-C4B9B44E632A}" dt="2020-06-22T19:03:58.113" v="38" actId="14100"/>
          <ac:spMkLst>
            <pc:docMk/>
            <pc:sldMk cId="1054193557" sldId="300"/>
            <ac:spMk id="15" creationId="{026098D5-EBD9-4C25-A369-98E612C048F4}"/>
          </ac:spMkLst>
        </pc:spChg>
        <pc:spChg chg="mod">
          <ac:chgData name="Travis Nesse" userId="7f5cd6f3-7534-4332-8f38-a3b44d62a5a5" providerId="ADAL" clId="{93488F64-367E-40E8-9617-C4B9B44E632A}" dt="2020-06-22T19:04:57.368" v="113" actId="1037"/>
          <ac:spMkLst>
            <pc:docMk/>
            <pc:sldMk cId="1054193557" sldId="300"/>
            <ac:spMk id="18" creationId="{FE7C4657-5617-4972-9473-18E32A41BB01}"/>
          </ac:spMkLst>
        </pc:spChg>
        <pc:spChg chg="mod">
          <ac:chgData name="Travis Nesse" userId="7f5cd6f3-7534-4332-8f38-a3b44d62a5a5" providerId="ADAL" clId="{93488F64-367E-40E8-9617-C4B9B44E632A}" dt="2020-06-22T19:04:57.368" v="113" actId="1037"/>
          <ac:spMkLst>
            <pc:docMk/>
            <pc:sldMk cId="1054193557" sldId="300"/>
            <ac:spMk id="20" creationId="{FA10C4C8-485D-4390-845E-174D17258825}"/>
          </ac:spMkLst>
        </pc:spChg>
        <pc:spChg chg="mod">
          <ac:chgData name="Travis Nesse" userId="7f5cd6f3-7534-4332-8f38-a3b44d62a5a5" providerId="ADAL" clId="{93488F64-367E-40E8-9617-C4B9B44E632A}" dt="2020-06-22T19:04:57.368" v="113" actId="1037"/>
          <ac:spMkLst>
            <pc:docMk/>
            <pc:sldMk cId="1054193557" sldId="300"/>
            <ac:spMk id="21" creationId="{C0F818F7-6F51-4BA7-BDCE-F72FD7274421}"/>
          </ac:spMkLst>
        </pc:spChg>
        <pc:spChg chg="mod">
          <ac:chgData name="Travis Nesse" userId="7f5cd6f3-7534-4332-8f38-a3b44d62a5a5" providerId="ADAL" clId="{93488F64-367E-40E8-9617-C4B9B44E632A}" dt="2020-06-22T19:04:57.368" v="113" actId="1037"/>
          <ac:spMkLst>
            <pc:docMk/>
            <pc:sldMk cId="1054193557" sldId="300"/>
            <ac:spMk id="22" creationId="{3B8EC593-D82F-4F8C-AFCA-6C8264533172}"/>
          </ac:spMkLst>
        </pc:spChg>
        <pc:spChg chg="mod">
          <ac:chgData name="Travis Nesse" userId="7f5cd6f3-7534-4332-8f38-a3b44d62a5a5" providerId="ADAL" clId="{93488F64-367E-40E8-9617-C4B9B44E632A}" dt="2020-06-22T19:05:16.303" v="117" actId="1076"/>
          <ac:spMkLst>
            <pc:docMk/>
            <pc:sldMk cId="1054193557" sldId="300"/>
            <ac:spMk id="28" creationId="{5C20C5E1-D23E-4433-8596-25A97D7F732D}"/>
          </ac:spMkLst>
        </pc:spChg>
        <pc:spChg chg="mod">
          <ac:chgData name="Travis Nesse" userId="7f5cd6f3-7534-4332-8f38-a3b44d62a5a5" providerId="ADAL" clId="{93488F64-367E-40E8-9617-C4B9B44E632A}" dt="2020-06-22T19:04:57.368" v="113" actId="1037"/>
          <ac:spMkLst>
            <pc:docMk/>
            <pc:sldMk cId="1054193557" sldId="300"/>
            <ac:spMk id="49" creationId="{C32850B9-8A77-4455-9CEC-A90167567397}"/>
          </ac:spMkLst>
        </pc:spChg>
        <pc:spChg chg="mod">
          <ac:chgData name="Travis Nesse" userId="7f5cd6f3-7534-4332-8f38-a3b44d62a5a5" providerId="ADAL" clId="{93488F64-367E-40E8-9617-C4B9B44E632A}" dt="2020-06-22T19:05:13.006" v="116" actId="1076"/>
          <ac:spMkLst>
            <pc:docMk/>
            <pc:sldMk cId="1054193557" sldId="300"/>
            <ac:spMk id="57" creationId="{C66A8145-6BE0-4243-AB44-560DAF41B89C}"/>
          </ac:spMkLst>
        </pc:spChg>
        <pc:spChg chg="mod">
          <ac:chgData name="Travis Nesse" userId="7f5cd6f3-7534-4332-8f38-a3b44d62a5a5" providerId="ADAL" clId="{93488F64-367E-40E8-9617-C4B9B44E632A}" dt="2020-06-22T19:33:36.960" v="135" actId="207"/>
          <ac:spMkLst>
            <pc:docMk/>
            <pc:sldMk cId="1054193557" sldId="300"/>
            <ac:spMk id="578" creationId="{49CD51E2-6B86-411F-B22F-C0AF37E5CA91}"/>
          </ac:spMkLst>
        </pc:spChg>
        <pc:spChg chg="mod">
          <ac:chgData name="Travis Nesse" userId="7f5cd6f3-7534-4332-8f38-a3b44d62a5a5" providerId="ADAL" clId="{93488F64-367E-40E8-9617-C4B9B44E632A}" dt="2020-06-22T19:06:20.881" v="130" actId="14100"/>
          <ac:spMkLst>
            <pc:docMk/>
            <pc:sldMk cId="1054193557" sldId="300"/>
            <ac:spMk id="1382" creationId="{E089343E-661E-48E4-8090-476BBC7A0E25}"/>
          </ac:spMkLst>
        </pc:spChg>
        <pc:spChg chg="mod">
          <ac:chgData name="Travis Nesse" userId="7f5cd6f3-7534-4332-8f38-a3b44d62a5a5" providerId="ADAL" clId="{93488F64-367E-40E8-9617-C4B9B44E632A}" dt="2020-06-22T19:06:33.612" v="133" actId="14100"/>
          <ac:spMkLst>
            <pc:docMk/>
            <pc:sldMk cId="1054193557" sldId="300"/>
            <ac:spMk id="1388" creationId="{1E025FE1-41D4-4DB2-B020-6222135EBC0E}"/>
          </ac:spMkLst>
        </pc:spChg>
        <pc:spChg chg="mod">
          <ac:chgData name="Travis Nesse" userId="7f5cd6f3-7534-4332-8f38-a3b44d62a5a5" providerId="ADAL" clId="{93488F64-367E-40E8-9617-C4B9B44E632A}" dt="2020-06-22T19:06:25.537" v="131" actId="1076"/>
          <ac:spMkLst>
            <pc:docMk/>
            <pc:sldMk cId="1054193557" sldId="300"/>
            <ac:spMk id="1389" creationId="{092C94FC-D191-4D3A-94B3-523DAEF4C852}"/>
          </ac:spMkLst>
        </pc:spChg>
        <pc:spChg chg="mod">
          <ac:chgData name="Travis Nesse" userId="7f5cd6f3-7534-4332-8f38-a3b44d62a5a5" providerId="ADAL" clId="{93488F64-367E-40E8-9617-C4B9B44E632A}" dt="2020-06-22T19:06:10.999" v="126" actId="403"/>
          <ac:spMkLst>
            <pc:docMk/>
            <pc:sldMk cId="1054193557" sldId="300"/>
            <ac:spMk id="1390" creationId="{6080227E-3AFA-45D6-9DEB-E771BA9A5980}"/>
          </ac:spMkLst>
        </pc:spChg>
        <pc:spChg chg="mod">
          <ac:chgData name="Travis Nesse" userId="7f5cd6f3-7534-4332-8f38-a3b44d62a5a5" providerId="ADAL" clId="{93488F64-367E-40E8-9617-C4B9B44E632A}" dt="2020-06-22T19:04:57.368" v="113" actId="1037"/>
          <ac:spMkLst>
            <pc:docMk/>
            <pc:sldMk cId="1054193557" sldId="300"/>
            <ac:spMk id="1391" creationId="{E64335E5-350E-466B-9E55-F324D4C84777}"/>
          </ac:spMkLst>
        </pc:spChg>
        <pc:spChg chg="mod">
          <ac:chgData name="Travis Nesse" userId="7f5cd6f3-7534-4332-8f38-a3b44d62a5a5" providerId="ADAL" clId="{93488F64-367E-40E8-9617-C4B9B44E632A}" dt="2020-06-22T19:04:57.368" v="113" actId="1037"/>
          <ac:spMkLst>
            <pc:docMk/>
            <pc:sldMk cId="1054193557" sldId="300"/>
            <ac:spMk id="1392" creationId="{A43639C9-8A38-43A6-9A14-AFD5882F157D}"/>
          </ac:spMkLst>
        </pc:spChg>
        <pc:spChg chg="mod">
          <ac:chgData name="Travis Nesse" userId="7f5cd6f3-7534-4332-8f38-a3b44d62a5a5" providerId="ADAL" clId="{93488F64-367E-40E8-9617-C4B9B44E632A}" dt="2020-06-22T19:04:57.368" v="113" actId="1037"/>
          <ac:spMkLst>
            <pc:docMk/>
            <pc:sldMk cId="1054193557" sldId="300"/>
            <ac:spMk id="1393" creationId="{39E08C4C-0D34-4834-A0CB-8BF01A09CABB}"/>
          </ac:spMkLst>
        </pc:spChg>
        <pc:grpChg chg="mod">
          <ac:chgData name="Travis Nesse" userId="7f5cd6f3-7534-4332-8f38-a3b44d62a5a5" providerId="ADAL" clId="{93488F64-367E-40E8-9617-C4B9B44E632A}" dt="2020-06-22T19:04:57.368" v="113" actId="1037"/>
          <ac:grpSpMkLst>
            <pc:docMk/>
            <pc:sldMk cId="1054193557" sldId="300"/>
            <ac:grpSpMk id="62" creationId="{7563BCA4-73A5-4F06-A4CA-079E5AAB0059}"/>
          </ac:grpSpMkLst>
        </pc:grpChg>
        <pc:grpChg chg="mod">
          <ac:chgData name="Travis Nesse" userId="7f5cd6f3-7534-4332-8f38-a3b44d62a5a5" providerId="ADAL" clId="{93488F64-367E-40E8-9617-C4B9B44E632A}" dt="2020-06-22T19:04:57.368" v="113" actId="1037"/>
          <ac:grpSpMkLst>
            <pc:docMk/>
            <pc:sldMk cId="1054193557" sldId="300"/>
            <ac:grpSpMk id="261" creationId="{38F4D738-7D93-49AF-A263-D1827A431557}"/>
          </ac:grpSpMkLst>
        </pc:grpChg>
        <pc:grpChg chg="mod">
          <ac:chgData name="Travis Nesse" userId="7f5cd6f3-7534-4332-8f38-a3b44d62a5a5" providerId="ADAL" clId="{93488F64-367E-40E8-9617-C4B9B44E632A}" dt="2020-06-22T19:04:57.368" v="113" actId="1037"/>
          <ac:grpSpMkLst>
            <pc:docMk/>
            <pc:sldMk cId="1054193557" sldId="300"/>
            <ac:grpSpMk id="268" creationId="{8668F9D0-45B5-46CE-97D1-736F309BDDDB}"/>
          </ac:grpSpMkLst>
        </pc:grpChg>
        <pc:grpChg chg="mod">
          <ac:chgData name="Travis Nesse" userId="7f5cd6f3-7534-4332-8f38-a3b44d62a5a5" providerId="ADAL" clId="{93488F64-367E-40E8-9617-C4B9B44E632A}" dt="2020-06-22T19:04:57.368" v="113" actId="1037"/>
          <ac:grpSpMkLst>
            <pc:docMk/>
            <pc:sldMk cId="1054193557" sldId="300"/>
            <ac:grpSpMk id="573" creationId="{620C2A1E-027E-4FDA-A2C6-6D727655A40E}"/>
          </ac:grpSpMkLst>
        </pc:grpChg>
        <pc:picChg chg="mod">
          <ac:chgData name="Travis Nesse" userId="7f5cd6f3-7534-4332-8f38-a3b44d62a5a5" providerId="ADAL" clId="{93488F64-367E-40E8-9617-C4B9B44E632A}" dt="2020-06-22T19:04:45.382" v="73" actId="1036"/>
          <ac:picMkLst>
            <pc:docMk/>
            <pc:sldMk cId="1054193557" sldId="300"/>
            <ac:picMk id="1400" creationId="{02647432-DEF7-400D-8827-424629F68246}"/>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6/22/2020</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6/22/2020</a:t>
            </a:fld>
            <a:endParaRPr lang="en-US"/>
          </a:p>
        </p:txBody>
      </p:sp>
      <p:sp>
        <p:nvSpPr>
          <p:cNvPr id="4" name="Slide Image Placeholder 3"/>
          <p:cNvSpPr>
            <a:spLocks noGrp="1" noRot="1" noChangeAspect="1"/>
          </p:cNvSpPr>
          <p:nvPr>
            <p:ph type="sldImg" idx="2"/>
          </p:nvPr>
        </p:nvSpPr>
        <p:spPr>
          <a:xfrm>
            <a:off x="2403475" y="1162050"/>
            <a:ext cx="205105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clouddamcdnprodep.azureedge.net/gdc/gdc2JYQI1/original?ocid=mkto_eml_em570460a1la1"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03475" y="1162050"/>
            <a:ext cx="2051050" cy="3136900"/>
          </a:xfrm>
        </p:spPr>
      </p:sp>
      <p:sp>
        <p:nvSpPr>
          <p:cNvPr id="3" name="Notes Placeholder 2"/>
          <p:cNvSpPr>
            <a:spLocks noGrp="1"/>
          </p:cNvSpPr>
          <p:nvPr>
            <p:ph type="body" idx="1"/>
          </p:nvPr>
        </p:nvSpPr>
        <p:spPr/>
        <p:txBody>
          <a:bodyPr/>
          <a:lstStyle/>
          <a:p>
            <a:r>
              <a:rPr lang="en-US">
                <a:hlinkClick r:id="rId3"/>
              </a:rPr>
              <a:t>https://clouddamcdnprodep.azureedge.net/gdc/gdc2JYQI1/original?ocid=mkto_eml_em570460a1la1</a:t>
            </a: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8064031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1796232"/>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1569" userDrawn="1">
          <p15:clr>
            <a:srgbClr val="5ACBF0"/>
          </p15:clr>
        </p15:guide>
        <p15:guide id="29" orient="horz" pos="2204" userDrawn="1">
          <p15:clr>
            <a:srgbClr val="5ACBF0"/>
          </p15:clr>
        </p15:guide>
        <p15:guide id="30" orient="horz" pos="500"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792484"/>
            <a:ext cx="7024307" cy="232525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5" y="3550309"/>
            <a:ext cx="7024307" cy="3976088"/>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7772400" cy="118872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1" y="2"/>
            <a:ext cx="373075" cy="1014374"/>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50718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97433" tIns="397946" rIns="497433" bIns="397946" numCol="1" spcCol="0" rtlCol="0" fromWordArt="0" anchor="t" anchorCtr="0" forceAA="0" compatLnSpc="1">
            <a:prstTxWarp prst="textNoShape">
              <a:avLst/>
            </a:prstTxWarp>
            <a:noAutofit/>
          </a:bodyPr>
          <a:lstStyle/>
          <a:p>
            <a:pPr marL="0" marR="0" lvl="0" indent="0" algn="ctr" defTabSz="2536010" rtl="0" eaLnBrk="1" fontAlgn="base" latinLnBrk="0" hangingPunct="1">
              <a:lnSpc>
                <a:spcPct val="90000"/>
              </a:lnSpc>
              <a:spcBef>
                <a:spcPct val="0"/>
              </a:spcBef>
              <a:spcAft>
                <a:spcPct val="0"/>
              </a:spcAft>
              <a:buClrTx/>
              <a:buSzTx/>
              <a:buFontTx/>
              <a:buNone/>
              <a:tabLst/>
              <a:defRPr/>
            </a:pPr>
            <a:endParaRPr kumimoji="0" lang="en-US" sz="6528"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5508058" y="2446997"/>
            <a:ext cx="6285684" cy="1391690"/>
          </a:xfrm>
          <a:prstGeom prst="rect">
            <a:avLst/>
          </a:prstGeom>
        </p:spPr>
      </p:pic>
    </p:spTree>
    <p:extLst>
      <p:ext uri="{BB962C8B-B14F-4D97-AF65-F5344CB8AC3E}">
        <p14:creationId xmlns:p14="http://schemas.microsoft.com/office/powerpoint/2010/main" val="4132046506"/>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2536744" rtl="0" eaLnBrk="1" latinLnBrk="0" hangingPunct="1">
        <a:lnSpc>
          <a:spcPct val="100000"/>
        </a:lnSpc>
        <a:spcBef>
          <a:spcPct val="0"/>
        </a:spcBef>
        <a:buNone/>
        <a:defRPr lang="en-US" sz="7555" b="0" kern="1200" cap="none" spc="-136" baseline="0" dirty="0" smtClean="0">
          <a:ln w="3175">
            <a:noFill/>
          </a:ln>
          <a:solidFill>
            <a:schemeClr val="tx1"/>
          </a:solidFill>
          <a:effectLst/>
          <a:latin typeface="+mj-lt"/>
          <a:ea typeface="+mn-ea"/>
          <a:cs typeface="Segoe UI" pitchFamily="34" charset="0"/>
        </a:defRPr>
      </a:lvl1pPr>
    </p:titleStyle>
    <p:bodyStyle>
      <a:lvl1pPr marL="621716"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5666" kern="1200" spc="0" baseline="0">
          <a:solidFill>
            <a:schemeClr val="tx1"/>
          </a:solidFill>
          <a:latin typeface="+mn-lt"/>
          <a:ea typeface="+mn-ea"/>
          <a:cs typeface="Segoe UI" panose="020B0502040204020203" pitchFamily="34" charset="0"/>
        </a:defRPr>
      </a:lvl1pPr>
      <a:lvl2pPr marL="1243431" marR="0" indent="-621716"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778" kern="1200" spc="0" baseline="0">
          <a:solidFill>
            <a:schemeClr val="tx1"/>
          </a:solidFill>
          <a:latin typeface="+mn-lt"/>
          <a:ea typeface="+mn-ea"/>
          <a:cs typeface="+mn-cs"/>
        </a:defRPr>
      </a:lvl2pPr>
      <a:lvl3pPr marL="1787431" marR="0" indent="-54400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022" kern="1200" spc="0" baseline="0">
          <a:solidFill>
            <a:schemeClr val="tx1"/>
          </a:solidFill>
          <a:latin typeface="+mn-lt"/>
          <a:ea typeface="+mn-ea"/>
          <a:cs typeface="+mn-cs"/>
        </a:defRPr>
      </a:lvl3pPr>
      <a:lvl4pPr marL="2292575" marR="0" indent="-492191"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4pPr>
      <a:lvl5pPr marL="2784767" marR="0" indent="-457652" algn="l" defTabSz="253674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644" kern="1200" spc="0" baseline="0">
          <a:solidFill>
            <a:schemeClr val="tx1"/>
          </a:solidFill>
          <a:latin typeface="+mn-lt"/>
          <a:ea typeface="+mn-ea"/>
          <a:cs typeface="+mn-cs"/>
        </a:defRPr>
      </a:lvl5pPr>
      <a:lvl6pPr marL="6976046"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6pPr>
      <a:lvl7pPr marL="8244420"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7pPr>
      <a:lvl8pPr marL="9512793"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8pPr>
      <a:lvl9pPr marL="10781168" indent="-634187" algn="l" defTabSz="2536744" rtl="0" eaLnBrk="1" latinLnBrk="0" hangingPunct="1">
        <a:spcBef>
          <a:spcPct val="20000"/>
        </a:spcBef>
        <a:buFont typeface="Arial" pitchFamily="34" charset="0"/>
        <a:buChar char="•"/>
        <a:defRPr sz="5440" kern="1200">
          <a:solidFill>
            <a:schemeClr val="tx1"/>
          </a:solidFill>
          <a:latin typeface="+mn-lt"/>
          <a:ea typeface="+mn-ea"/>
          <a:cs typeface="+mn-cs"/>
        </a:defRPr>
      </a:lvl9pPr>
    </p:bodyStyle>
    <p:otherStyle>
      <a:defPPr>
        <a:defRPr lang="en-US"/>
      </a:defPPr>
      <a:lvl1pPr marL="0" algn="l" defTabSz="2536744" rtl="0" eaLnBrk="1" latinLnBrk="0" hangingPunct="1">
        <a:defRPr sz="4896" kern="1200">
          <a:solidFill>
            <a:schemeClr val="tx1"/>
          </a:solidFill>
          <a:latin typeface="+mn-lt"/>
          <a:ea typeface="+mn-ea"/>
          <a:cs typeface="+mn-cs"/>
        </a:defRPr>
      </a:lvl1pPr>
      <a:lvl2pPr marL="1268373" algn="l" defTabSz="2536744" rtl="0" eaLnBrk="1" latinLnBrk="0" hangingPunct="1">
        <a:defRPr sz="4896" kern="1200">
          <a:solidFill>
            <a:schemeClr val="tx1"/>
          </a:solidFill>
          <a:latin typeface="+mn-lt"/>
          <a:ea typeface="+mn-ea"/>
          <a:cs typeface="+mn-cs"/>
        </a:defRPr>
      </a:lvl2pPr>
      <a:lvl3pPr marL="2536744" algn="l" defTabSz="2536744" rtl="0" eaLnBrk="1" latinLnBrk="0" hangingPunct="1">
        <a:defRPr sz="4896" kern="1200">
          <a:solidFill>
            <a:schemeClr val="tx1"/>
          </a:solidFill>
          <a:latin typeface="+mn-lt"/>
          <a:ea typeface="+mn-ea"/>
          <a:cs typeface="+mn-cs"/>
        </a:defRPr>
      </a:lvl3pPr>
      <a:lvl4pPr marL="3805117" algn="l" defTabSz="2536744" rtl="0" eaLnBrk="1" latinLnBrk="0" hangingPunct="1">
        <a:defRPr sz="4896" kern="1200">
          <a:solidFill>
            <a:schemeClr val="tx1"/>
          </a:solidFill>
          <a:latin typeface="+mn-lt"/>
          <a:ea typeface="+mn-ea"/>
          <a:cs typeface="+mn-cs"/>
        </a:defRPr>
      </a:lvl4pPr>
      <a:lvl5pPr marL="5073489" algn="l" defTabSz="2536744" rtl="0" eaLnBrk="1" latinLnBrk="0" hangingPunct="1">
        <a:defRPr sz="4896" kern="1200">
          <a:solidFill>
            <a:schemeClr val="tx1"/>
          </a:solidFill>
          <a:latin typeface="+mn-lt"/>
          <a:ea typeface="+mn-ea"/>
          <a:cs typeface="+mn-cs"/>
        </a:defRPr>
      </a:lvl5pPr>
      <a:lvl6pPr marL="6341864" algn="l" defTabSz="2536744" rtl="0" eaLnBrk="1" latinLnBrk="0" hangingPunct="1">
        <a:defRPr sz="4896" kern="1200">
          <a:solidFill>
            <a:schemeClr val="tx1"/>
          </a:solidFill>
          <a:latin typeface="+mn-lt"/>
          <a:ea typeface="+mn-ea"/>
          <a:cs typeface="+mn-cs"/>
        </a:defRPr>
      </a:lvl6pPr>
      <a:lvl7pPr marL="7610234" algn="l" defTabSz="2536744" rtl="0" eaLnBrk="1" latinLnBrk="0" hangingPunct="1">
        <a:defRPr sz="4896" kern="1200">
          <a:solidFill>
            <a:schemeClr val="tx1"/>
          </a:solidFill>
          <a:latin typeface="+mn-lt"/>
          <a:ea typeface="+mn-ea"/>
          <a:cs typeface="+mn-cs"/>
        </a:defRPr>
      </a:lvl7pPr>
      <a:lvl8pPr marL="8878607" algn="l" defTabSz="2536744" rtl="0" eaLnBrk="1" latinLnBrk="0" hangingPunct="1">
        <a:defRPr sz="4896" kern="1200">
          <a:solidFill>
            <a:schemeClr val="tx1"/>
          </a:solidFill>
          <a:latin typeface="+mn-lt"/>
          <a:ea typeface="+mn-ea"/>
          <a:cs typeface="+mn-cs"/>
        </a:defRPr>
      </a:lvl8pPr>
      <a:lvl9pPr marL="10146981" algn="l" defTabSz="2536744" rtl="0" eaLnBrk="1" latinLnBrk="0" hangingPunct="1">
        <a:defRPr sz="4896"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640" userDrawn="1">
          <p15:clr>
            <a:srgbClr val="C35EA4"/>
          </p15:clr>
        </p15:guide>
        <p15:guide id="26" orient="horz" pos="1414" userDrawn="1">
          <p15:clr>
            <a:srgbClr val="C35EA4"/>
          </p15:clr>
        </p15:guide>
        <p15:guide id="27" orient="horz" pos="215" userDrawn="1">
          <p15:clr>
            <a:srgbClr val="A4A3A4"/>
          </p15:clr>
        </p15:guide>
        <p15:guide id="28" pos="118" userDrawn="1">
          <p15:clr>
            <a:srgbClr val="A4A3A4"/>
          </p15:clr>
        </p15:guide>
        <p15:guide id="29" orient="horz" pos="7271"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78" name="Freeform: Shape 577">
            <a:extLst>
              <a:ext uri="{FF2B5EF4-FFF2-40B4-BE49-F238E27FC236}">
                <a16:creationId xmlns:a16="http://schemas.microsoft.com/office/drawing/2014/main" id="{49CD51E2-6B86-411F-B22F-C0AF37E5CA91}"/>
              </a:ext>
            </a:extLst>
          </p:cNvPr>
          <p:cNvSpPr/>
          <p:nvPr/>
        </p:nvSpPr>
        <p:spPr>
          <a:xfrm>
            <a:off x="-2" y="8677996"/>
            <a:ext cx="4631704" cy="2005968"/>
          </a:xfrm>
          <a:custGeom>
            <a:avLst/>
            <a:gdLst>
              <a:gd name="connsiteX0" fmla="*/ 4026188 w 4631704"/>
              <a:gd name="connsiteY0" fmla="*/ 0 h 1690590"/>
              <a:gd name="connsiteX1" fmla="*/ 4606130 w 4631704"/>
              <a:gd name="connsiteY1" fmla="*/ 0 h 1690590"/>
              <a:gd name="connsiteX2" fmla="*/ 4606130 w 4631704"/>
              <a:gd name="connsiteY2" fmla="*/ 1 h 1690590"/>
              <a:gd name="connsiteX3" fmla="*/ 4631704 w 4631704"/>
              <a:gd name="connsiteY3" fmla="*/ 1 h 1690590"/>
              <a:gd name="connsiteX4" fmla="*/ 4558364 w 4631704"/>
              <a:gd name="connsiteY4" fmla="*/ 213934 h 1690590"/>
              <a:gd name="connsiteX5" fmla="*/ 4228662 w 4631704"/>
              <a:gd name="connsiteY5" fmla="*/ 1690589 h 1690590"/>
              <a:gd name="connsiteX6" fmla="*/ 4052138 w 4631704"/>
              <a:gd name="connsiteY6" fmla="*/ 1690589 h 1690590"/>
              <a:gd name="connsiteX7" fmla="*/ 4052137 w 4631704"/>
              <a:gd name="connsiteY7" fmla="*/ 1690590 h 1690590"/>
              <a:gd name="connsiteX8" fmla="*/ 0 w 4631704"/>
              <a:gd name="connsiteY8" fmla="*/ 1690590 h 1690590"/>
              <a:gd name="connsiteX9" fmla="*/ 0 w 4631704"/>
              <a:gd name="connsiteY9" fmla="*/ 1 h 1690590"/>
              <a:gd name="connsiteX10" fmla="*/ 4026188 w 4631704"/>
              <a:gd name="connsiteY10" fmla="*/ 1 h 169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31704" h="1690590">
                <a:moveTo>
                  <a:pt x="4026188" y="0"/>
                </a:moveTo>
                <a:lnTo>
                  <a:pt x="4606130" y="0"/>
                </a:lnTo>
                <a:lnTo>
                  <a:pt x="4606130" y="1"/>
                </a:lnTo>
                <a:lnTo>
                  <a:pt x="4631704" y="1"/>
                </a:lnTo>
                <a:lnTo>
                  <a:pt x="4558364" y="213934"/>
                </a:lnTo>
                <a:lnTo>
                  <a:pt x="4228662" y="1690589"/>
                </a:lnTo>
                <a:lnTo>
                  <a:pt x="4052138" y="1690589"/>
                </a:lnTo>
                <a:lnTo>
                  <a:pt x="4052137" y="1690590"/>
                </a:lnTo>
                <a:lnTo>
                  <a:pt x="0" y="1690590"/>
                </a:lnTo>
                <a:lnTo>
                  <a:pt x="0" y="1"/>
                </a:lnTo>
                <a:lnTo>
                  <a:pt x="4026188" y="1"/>
                </a:lnTo>
                <a:close/>
              </a:path>
            </a:pathLst>
          </a:custGeom>
          <a:solidFill>
            <a:srgbClr val="3B2E58"/>
          </a:solidFill>
          <a:ln w="13434"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C151E294-F5DE-4764-8DDD-ECD703C8C432}"/>
              </a:ext>
            </a:extLst>
          </p:cNvPr>
          <p:cNvSpPr/>
          <p:nvPr/>
        </p:nvSpPr>
        <p:spPr>
          <a:xfrm>
            <a:off x="0" y="6985841"/>
            <a:ext cx="5196645" cy="1692158"/>
          </a:xfrm>
          <a:custGeom>
            <a:avLst/>
            <a:gdLst>
              <a:gd name="connsiteX0" fmla="*/ 4347942 w 4347941"/>
              <a:gd name="connsiteY0" fmla="*/ 0 h 1449762"/>
              <a:gd name="connsiteX1" fmla="*/ 0 w 4347941"/>
              <a:gd name="connsiteY1" fmla="*/ 0 h 1449762"/>
              <a:gd name="connsiteX2" fmla="*/ 0 w 4347941"/>
              <a:gd name="connsiteY2" fmla="*/ 1449762 h 1449762"/>
              <a:gd name="connsiteX3" fmla="*/ 3865584 w 4347941"/>
              <a:gd name="connsiteY3" fmla="*/ 1449762 h 1449762"/>
            </a:gdLst>
            <a:ahLst/>
            <a:cxnLst>
              <a:cxn ang="0">
                <a:pos x="connsiteX0" y="connsiteY0"/>
              </a:cxn>
              <a:cxn ang="0">
                <a:pos x="connsiteX1" y="connsiteY1"/>
              </a:cxn>
              <a:cxn ang="0">
                <a:pos x="connsiteX2" y="connsiteY2"/>
              </a:cxn>
              <a:cxn ang="0">
                <a:pos x="connsiteX3" y="connsiteY3"/>
              </a:cxn>
            </a:cxnLst>
            <a:rect l="l" t="t" r="r" b="b"/>
            <a:pathLst>
              <a:path w="4347941" h="1449762">
                <a:moveTo>
                  <a:pt x="4347942" y="0"/>
                </a:moveTo>
                <a:lnTo>
                  <a:pt x="0" y="0"/>
                </a:lnTo>
                <a:lnTo>
                  <a:pt x="0" y="1449762"/>
                </a:lnTo>
                <a:lnTo>
                  <a:pt x="3865584" y="1449762"/>
                </a:lnTo>
                <a:close/>
              </a:path>
            </a:pathLst>
          </a:custGeom>
          <a:solidFill>
            <a:schemeClr val="accent1">
              <a:lumMod val="50000"/>
            </a:schemeClr>
          </a:solidFill>
          <a:ln w="13434"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774594CD-E609-4B0F-9177-64D71EFFA721}"/>
              </a:ext>
            </a:extLst>
          </p:cNvPr>
          <p:cNvSpPr/>
          <p:nvPr/>
        </p:nvSpPr>
        <p:spPr>
          <a:xfrm>
            <a:off x="0" y="4828991"/>
            <a:ext cx="5563809" cy="2154105"/>
          </a:xfrm>
          <a:custGeom>
            <a:avLst/>
            <a:gdLst>
              <a:gd name="connsiteX0" fmla="*/ 4831644 w 4831643"/>
              <a:gd name="connsiteY0" fmla="*/ 0 h 1449761"/>
              <a:gd name="connsiteX1" fmla="*/ 0 w 4831643"/>
              <a:gd name="connsiteY1" fmla="*/ 0 h 1449761"/>
              <a:gd name="connsiteX2" fmla="*/ 0 w 4831643"/>
              <a:gd name="connsiteY2" fmla="*/ 1449762 h 1449761"/>
              <a:gd name="connsiteX3" fmla="*/ 4347942 w 4831643"/>
              <a:gd name="connsiteY3" fmla="*/ 1449762 h 1449761"/>
            </a:gdLst>
            <a:ahLst/>
            <a:cxnLst>
              <a:cxn ang="0">
                <a:pos x="connsiteX0" y="connsiteY0"/>
              </a:cxn>
              <a:cxn ang="0">
                <a:pos x="connsiteX1" y="connsiteY1"/>
              </a:cxn>
              <a:cxn ang="0">
                <a:pos x="connsiteX2" y="connsiteY2"/>
              </a:cxn>
              <a:cxn ang="0">
                <a:pos x="connsiteX3" y="connsiteY3"/>
              </a:cxn>
            </a:cxnLst>
            <a:rect l="l" t="t" r="r" b="b"/>
            <a:pathLst>
              <a:path w="4831643" h="1449761">
                <a:moveTo>
                  <a:pt x="4831644" y="0"/>
                </a:moveTo>
                <a:lnTo>
                  <a:pt x="0" y="0"/>
                </a:lnTo>
                <a:lnTo>
                  <a:pt x="0" y="1449762"/>
                </a:lnTo>
                <a:lnTo>
                  <a:pt x="4347942" y="1449762"/>
                </a:lnTo>
                <a:close/>
              </a:path>
            </a:pathLst>
          </a:custGeom>
          <a:solidFill>
            <a:schemeClr val="accent1">
              <a:lumMod val="75000"/>
            </a:schemeClr>
          </a:solidFill>
          <a:ln w="13434"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026098D5-EBD9-4C25-A369-98E612C048F4}"/>
              </a:ext>
            </a:extLst>
          </p:cNvPr>
          <p:cNvSpPr/>
          <p:nvPr/>
        </p:nvSpPr>
        <p:spPr>
          <a:xfrm>
            <a:off x="-1" y="3136835"/>
            <a:ext cx="5972175" cy="1897608"/>
          </a:xfrm>
          <a:custGeom>
            <a:avLst/>
            <a:gdLst>
              <a:gd name="connsiteX0" fmla="*/ 5315346 w 5315345"/>
              <a:gd name="connsiteY0" fmla="*/ 0 h 1449761"/>
              <a:gd name="connsiteX1" fmla="*/ 0 w 5315345"/>
              <a:gd name="connsiteY1" fmla="*/ 0 h 1449761"/>
              <a:gd name="connsiteX2" fmla="*/ 0 w 5315345"/>
              <a:gd name="connsiteY2" fmla="*/ 1449762 h 1449761"/>
              <a:gd name="connsiteX3" fmla="*/ 4831644 w 5315345"/>
              <a:gd name="connsiteY3" fmla="*/ 1449762 h 1449761"/>
            </a:gdLst>
            <a:ahLst/>
            <a:cxnLst>
              <a:cxn ang="0">
                <a:pos x="connsiteX0" y="connsiteY0"/>
              </a:cxn>
              <a:cxn ang="0">
                <a:pos x="connsiteX1" y="connsiteY1"/>
              </a:cxn>
              <a:cxn ang="0">
                <a:pos x="connsiteX2" y="connsiteY2"/>
              </a:cxn>
              <a:cxn ang="0">
                <a:pos x="connsiteX3" y="connsiteY3"/>
              </a:cxn>
            </a:cxnLst>
            <a:rect l="l" t="t" r="r" b="b"/>
            <a:pathLst>
              <a:path w="5315345" h="1449761">
                <a:moveTo>
                  <a:pt x="5315346" y="0"/>
                </a:moveTo>
                <a:lnTo>
                  <a:pt x="0" y="0"/>
                </a:lnTo>
                <a:lnTo>
                  <a:pt x="0" y="1449762"/>
                </a:lnTo>
                <a:lnTo>
                  <a:pt x="4831644" y="1449762"/>
                </a:lnTo>
                <a:close/>
              </a:path>
            </a:pathLst>
          </a:custGeom>
          <a:solidFill>
            <a:schemeClr val="accent1"/>
          </a:solidFill>
          <a:ln w="13434" cap="flat">
            <a:noFill/>
            <a:prstDash val="solid"/>
            <a:miter/>
          </a:ln>
        </p:spPr>
        <p:txBody>
          <a:bodyPr rtlCol="0" anchor="ctr"/>
          <a:lstStyle/>
          <a:p>
            <a:endParaRPr lang="en-US"/>
          </a:p>
        </p:txBody>
      </p:sp>
      <p:sp>
        <p:nvSpPr>
          <p:cNvPr id="48" name="Graphic 46">
            <a:extLst>
              <a:ext uri="{FF2B5EF4-FFF2-40B4-BE49-F238E27FC236}">
                <a16:creationId xmlns:a16="http://schemas.microsoft.com/office/drawing/2014/main" id="{E926BA49-F86D-4B67-88E9-355F928A93F6}"/>
              </a:ext>
            </a:extLst>
          </p:cNvPr>
          <p:cNvSpPr/>
          <p:nvPr/>
        </p:nvSpPr>
        <p:spPr>
          <a:xfrm>
            <a:off x="3787067" y="9526"/>
            <a:ext cx="3985333" cy="11887200"/>
          </a:xfrm>
          <a:custGeom>
            <a:avLst/>
            <a:gdLst>
              <a:gd name="connsiteX0" fmla="*/ 2034540 w 3026092"/>
              <a:gd name="connsiteY0" fmla="*/ 0 h 8906827"/>
              <a:gd name="connsiteX1" fmla="*/ 904875 w 3026092"/>
              <a:gd name="connsiteY1" fmla="*/ 4944428 h 8906827"/>
              <a:gd name="connsiteX2" fmla="*/ 0 w 3026092"/>
              <a:gd name="connsiteY2" fmla="*/ 8906827 h 8906827"/>
              <a:gd name="connsiteX3" fmla="*/ 904875 w 3026092"/>
              <a:gd name="connsiteY3" fmla="*/ 8899207 h 8906827"/>
              <a:gd name="connsiteX4" fmla="*/ 904875 w 3026092"/>
              <a:gd name="connsiteY4" fmla="*/ 8906827 h 8906827"/>
              <a:gd name="connsiteX5" fmla="*/ 3026093 w 3026092"/>
              <a:gd name="connsiteY5" fmla="*/ 8906827 h 8906827"/>
              <a:gd name="connsiteX6" fmla="*/ 3026093 w 3026092"/>
              <a:gd name="connsiteY6" fmla="*/ 3308985 h 8906827"/>
              <a:gd name="connsiteX7" fmla="*/ 3026093 w 3026092"/>
              <a:gd name="connsiteY7" fmla="*/ 0 h 8906827"/>
              <a:gd name="connsiteX0" fmla="*/ 2091635 w 3026093"/>
              <a:gd name="connsiteY0" fmla="*/ 0 h 8906827"/>
              <a:gd name="connsiteX1" fmla="*/ 904875 w 3026093"/>
              <a:gd name="connsiteY1" fmla="*/ 4944428 h 8906827"/>
              <a:gd name="connsiteX2" fmla="*/ 0 w 3026093"/>
              <a:gd name="connsiteY2" fmla="*/ 8906827 h 8906827"/>
              <a:gd name="connsiteX3" fmla="*/ 904875 w 3026093"/>
              <a:gd name="connsiteY3" fmla="*/ 8899207 h 8906827"/>
              <a:gd name="connsiteX4" fmla="*/ 904875 w 3026093"/>
              <a:gd name="connsiteY4" fmla="*/ 8906827 h 8906827"/>
              <a:gd name="connsiteX5" fmla="*/ 3026093 w 3026093"/>
              <a:gd name="connsiteY5" fmla="*/ 8906827 h 8906827"/>
              <a:gd name="connsiteX6" fmla="*/ 3026093 w 3026093"/>
              <a:gd name="connsiteY6" fmla="*/ 3308985 h 8906827"/>
              <a:gd name="connsiteX7" fmla="*/ 3026093 w 3026093"/>
              <a:gd name="connsiteY7" fmla="*/ 0 h 8906827"/>
              <a:gd name="connsiteX8" fmla="*/ 2091635 w 3026093"/>
              <a:gd name="connsiteY8" fmla="*/ 0 h 8906827"/>
              <a:gd name="connsiteX0" fmla="*/ 2028830 w 2963288"/>
              <a:gd name="connsiteY0" fmla="*/ 0 h 8906827"/>
              <a:gd name="connsiteX1" fmla="*/ 842070 w 2963288"/>
              <a:gd name="connsiteY1" fmla="*/ 4944428 h 8906827"/>
              <a:gd name="connsiteX2" fmla="*/ 0 w 2963288"/>
              <a:gd name="connsiteY2" fmla="*/ 8906827 h 8906827"/>
              <a:gd name="connsiteX3" fmla="*/ 842070 w 2963288"/>
              <a:gd name="connsiteY3" fmla="*/ 8899207 h 8906827"/>
              <a:gd name="connsiteX4" fmla="*/ 842070 w 2963288"/>
              <a:gd name="connsiteY4" fmla="*/ 8906827 h 8906827"/>
              <a:gd name="connsiteX5" fmla="*/ 2963288 w 2963288"/>
              <a:gd name="connsiteY5" fmla="*/ 8906827 h 8906827"/>
              <a:gd name="connsiteX6" fmla="*/ 2963288 w 2963288"/>
              <a:gd name="connsiteY6" fmla="*/ 3308985 h 8906827"/>
              <a:gd name="connsiteX7" fmla="*/ 2963288 w 2963288"/>
              <a:gd name="connsiteY7" fmla="*/ 0 h 8906827"/>
              <a:gd name="connsiteX8" fmla="*/ 2028830 w 2963288"/>
              <a:gd name="connsiteY8" fmla="*/ 0 h 8906827"/>
              <a:gd name="connsiteX0" fmla="*/ 2028830 w 2963288"/>
              <a:gd name="connsiteY0" fmla="*/ 0 h 8906827"/>
              <a:gd name="connsiteX1" fmla="*/ 864908 w 2963288"/>
              <a:gd name="connsiteY1" fmla="*/ 4944428 h 8906827"/>
              <a:gd name="connsiteX2" fmla="*/ 0 w 2963288"/>
              <a:gd name="connsiteY2" fmla="*/ 8906827 h 8906827"/>
              <a:gd name="connsiteX3" fmla="*/ 842070 w 2963288"/>
              <a:gd name="connsiteY3" fmla="*/ 8899207 h 8906827"/>
              <a:gd name="connsiteX4" fmla="*/ 842070 w 2963288"/>
              <a:gd name="connsiteY4" fmla="*/ 8906827 h 8906827"/>
              <a:gd name="connsiteX5" fmla="*/ 2963288 w 2963288"/>
              <a:gd name="connsiteY5" fmla="*/ 8906827 h 8906827"/>
              <a:gd name="connsiteX6" fmla="*/ 2963288 w 2963288"/>
              <a:gd name="connsiteY6" fmla="*/ 3308985 h 8906827"/>
              <a:gd name="connsiteX7" fmla="*/ 2963288 w 2963288"/>
              <a:gd name="connsiteY7" fmla="*/ 0 h 8906827"/>
              <a:gd name="connsiteX8" fmla="*/ 2028830 w 2963288"/>
              <a:gd name="connsiteY8" fmla="*/ 0 h 8906827"/>
              <a:gd name="connsiteX0" fmla="*/ 2051668 w 2986126"/>
              <a:gd name="connsiteY0" fmla="*/ 0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51668 w 2986126"/>
              <a:gd name="connsiteY8" fmla="*/ 0 h 8906827"/>
              <a:gd name="connsiteX0" fmla="*/ 2030257 w 2986126"/>
              <a:gd name="connsiteY0" fmla="*/ 7138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30257 w 2986126"/>
              <a:gd name="connsiteY8" fmla="*/ 7138 h 8906827"/>
              <a:gd name="connsiteX0" fmla="*/ 2030257 w 2986126"/>
              <a:gd name="connsiteY0" fmla="*/ 0 h 8906827"/>
              <a:gd name="connsiteX1" fmla="*/ 887746 w 2986126"/>
              <a:gd name="connsiteY1" fmla="*/ 4944428 h 8906827"/>
              <a:gd name="connsiteX2" fmla="*/ 0 w 2986126"/>
              <a:gd name="connsiteY2" fmla="*/ 8901117 h 8906827"/>
              <a:gd name="connsiteX3" fmla="*/ 864908 w 2986126"/>
              <a:gd name="connsiteY3" fmla="*/ 8899207 h 8906827"/>
              <a:gd name="connsiteX4" fmla="*/ 864908 w 2986126"/>
              <a:gd name="connsiteY4" fmla="*/ 8906827 h 8906827"/>
              <a:gd name="connsiteX5" fmla="*/ 2986126 w 2986126"/>
              <a:gd name="connsiteY5" fmla="*/ 8906827 h 8906827"/>
              <a:gd name="connsiteX6" fmla="*/ 2986126 w 2986126"/>
              <a:gd name="connsiteY6" fmla="*/ 3308985 h 8906827"/>
              <a:gd name="connsiteX7" fmla="*/ 2986126 w 2986126"/>
              <a:gd name="connsiteY7" fmla="*/ 0 h 8906827"/>
              <a:gd name="connsiteX8" fmla="*/ 2030257 w 2986126"/>
              <a:gd name="connsiteY8" fmla="*/ 0 h 8906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6126" h="8906827">
                <a:moveTo>
                  <a:pt x="2030257" y="0"/>
                </a:moveTo>
                <a:lnTo>
                  <a:pt x="887746" y="4944428"/>
                </a:lnTo>
                <a:lnTo>
                  <a:pt x="0" y="8901117"/>
                </a:lnTo>
                <a:lnTo>
                  <a:pt x="864908" y="8899207"/>
                </a:lnTo>
                <a:lnTo>
                  <a:pt x="864908" y="8906827"/>
                </a:lnTo>
                <a:lnTo>
                  <a:pt x="2986126" y="8906827"/>
                </a:lnTo>
                <a:lnTo>
                  <a:pt x="2986126" y="3308985"/>
                </a:lnTo>
                <a:lnTo>
                  <a:pt x="2986126" y="0"/>
                </a:lnTo>
                <a:lnTo>
                  <a:pt x="2030257" y="0"/>
                </a:lnTo>
                <a:close/>
              </a:path>
            </a:pathLst>
          </a:custGeom>
          <a:solidFill>
            <a:schemeClr val="bg1"/>
          </a:solidFill>
          <a:ln w="9525" cap="flat">
            <a:noFill/>
            <a:prstDash val="solid"/>
            <a:miter/>
          </a:ln>
          <a:effectLst>
            <a:outerShdw blurRad="279400" dist="38100" dir="10800000" algn="r" rotWithShape="0">
              <a:schemeClr val="tx1">
                <a:alpha val="40000"/>
              </a:schemeClr>
            </a:outerShdw>
          </a:effectLst>
        </p:spPr>
        <p:txBody>
          <a:bodyPr rtlCol="0" anchor="ctr"/>
          <a:lstStyle/>
          <a:p>
            <a:endParaRPr lang="en-US"/>
          </a:p>
        </p:txBody>
      </p:sp>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057852" y="-455179"/>
          <a:ext cx="2021" cy="2021"/>
        </p:xfrm>
        <a:graphic>
          <a:graphicData uri="http://schemas.openxmlformats.org/presentationml/2006/ole">
            <mc:AlternateContent xmlns:mc="http://schemas.openxmlformats.org/markup-compatibility/2006">
              <mc:Choice xmlns:v="urn:schemas-microsoft-com:vml" Requires="v">
                <p:oleObj spid="_x0000_s5121"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31A249D2-9EE3-4037-99F5-C405D51E021D}"/>
                          </a:ext>
                        </a:extLst>
                      </p:cNvPr>
                      <p:cNvPicPr/>
                      <p:nvPr/>
                    </p:nvPicPr>
                    <p:blipFill>
                      <a:blip r:embed="rId6"/>
                      <a:stretch>
                        <a:fillRect/>
                      </a:stretch>
                    </p:blipFill>
                    <p:spPr>
                      <a:xfrm>
                        <a:off x="-1057852" y="-455179"/>
                        <a:ext cx="2021" cy="2021"/>
                      </a:xfrm>
                      <a:prstGeom prst="rect">
                        <a:avLst/>
                      </a:prstGeom>
                    </p:spPr>
                  </p:pic>
                </p:oleObj>
              </mc:Fallback>
            </mc:AlternateContent>
          </a:graphicData>
        </a:graphic>
      </p:graphicFrame>
      <p:pic>
        <p:nvPicPr>
          <p:cNvPr id="19" name="Picture 18" descr="A picture containing drawing&#10;&#10;Description automatically generated">
            <a:extLst>
              <a:ext uri="{FF2B5EF4-FFF2-40B4-BE49-F238E27FC236}">
                <a16:creationId xmlns:a16="http://schemas.microsoft.com/office/drawing/2014/main" id="{B4D7FB58-81A2-4921-AC7D-075424C7CE35}"/>
              </a:ext>
            </a:extLst>
          </p:cNvPr>
          <p:cNvPicPr>
            <a:picLocks noChangeAspect="1"/>
          </p:cNvPicPr>
          <p:nvPr/>
        </p:nvPicPr>
        <p:blipFill>
          <a:blip r:embed="rId7"/>
          <a:stretch>
            <a:fillRect/>
          </a:stretch>
        </p:blipFill>
        <p:spPr>
          <a:xfrm>
            <a:off x="40638" y="9526"/>
            <a:ext cx="2224308" cy="996949"/>
          </a:xfrm>
          <a:prstGeom prst="rect">
            <a:avLst/>
          </a:prstGeom>
        </p:spPr>
      </p:pic>
      <p:sp>
        <p:nvSpPr>
          <p:cNvPr id="57" name="Rectangle 56">
            <a:extLst>
              <a:ext uri="{FF2B5EF4-FFF2-40B4-BE49-F238E27FC236}">
                <a16:creationId xmlns:a16="http://schemas.microsoft.com/office/drawing/2014/main" id="{C66A8145-6BE0-4243-AB44-560DAF41B89C}"/>
              </a:ext>
            </a:extLst>
          </p:cNvPr>
          <p:cNvSpPr/>
          <p:nvPr/>
        </p:nvSpPr>
        <p:spPr>
          <a:xfrm>
            <a:off x="375919" y="1084255"/>
            <a:ext cx="6991667" cy="492443"/>
          </a:xfrm>
          <a:prstGeom prst="rect">
            <a:avLst/>
          </a:prstGeom>
        </p:spPr>
        <p:txBody>
          <a:bodyPr wrap="square" lIns="0" tIns="0" rIns="0" bIns="0">
            <a:spAutoFit/>
          </a:bodyPr>
          <a:lstStyle/>
          <a:p>
            <a:pPr fontAlgn="base"/>
            <a:r>
              <a:rPr lang="en-US" sz="3200">
                <a:latin typeface="+mj-lt"/>
                <a:cs typeface="Segoe UI" panose="020B0502040204020203" pitchFamily="34" charset="0"/>
              </a:rPr>
              <a:t>4 key themes for </a:t>
            </a:r>
            <a:r>
              <a:rPr lang="en-US" sz="3200">
                <a:solidFill>
                  <a:schemeClr val="accent1"/>
                </a:solidFill>
                <a:latin typeface="+mj-lt"/>
                <a:cs typeface="Segoe UI" panose="020B0502040204020203" pitchFamily="34" charset="0"/>
              </a:rPr>
              <a:t>sales success</a:t>
            </a:r>
          </a:p>
        </p:txBody>
      </p:sp>
      <p:sp>
        <p:nvSpPr>
          <p:cNvPr id="28" name="Rectangle 27">
            <a:extLst>
              <a:ext uri="{FF2B5EF4-FFF2-40B4-BE49-F238E27FC236}">
                <a16:creationId xmlns:a16="http://schemas.microsoft.com/office/drawing/2014/main" id="{5C20C5E1-D23E-4433-8596-25A97D7F732D}"/>
              </a:ext>
            </a:extLst>
          </p:cNvPr>
          <p:cNvSpPr/>
          <p:nvPr/>
        </p:nvSpPr>
        <p:spPr>
          <a:xfrm>
            <a:off x="354713" y="1730025"/>
            <a:ext cx="5310187" cy="1107996"/>
          </a:xfrm>
          <a:prstGeom prst="rect">
            <a:avLst/>
          </a:prstGeom>
        </p:spPr>
        <p:txBody>
          <a:bodyPr wrap="square" lIns="0" tIns="0" rIns="0" bIns="0">
            <a:spAutoFit/>
          </a:bodyPr>
          <a:lstStyle/>
          <a:p>
            <a:pPr>
              <a:spcBef>
                <a:spcPts val="400"/>
              </a:spcBef>
              <a:spcAft>
                <a:spcPts val="400"/>
              </a:spcAft>
            </a:pPr>
            <a:r>
              <a:rPr lang="en-US" sz="2400"/>
              <a:t>Four key findings that serve as a roadmap for organizations looking </a:t>
            </a:r>
            <a:br>
              <a:rPr lang="en-US" sz="2400"/>
            </a:br>
            <a:r>
              <a:rPr lang="en-US" sz="2400"/>
              <a:t>to achieve sales success:</a:t>
            </a:r>
          </a:p>
        </p:txBody>
      </p:sp>
      <p:sp>
        <p:nvSpPr>
          <p:cNvPr id="18" name="Freeform: Shape 17">
            <a:extLst>
              <a:ext uri="{FF2B5EF4-FFF2-40B4-BE49-F238E27FC236}">
                <a16:creationId xmlns:a16="http://schemas.microsoft.com/office/drawing/2014/main" id="{FE7C4657-5617-4972-9473-18E32A41BB01}"/>
              </a:ext>
            </a:extLst>
          </p:cNvPr>
          <p:cNvSpPr/>
          <p:nvPr/>
        </p:nvSpPr>
        <p:spPr>
          <a:xfrm>
            <a:off x="4302164" y="7850137"/>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2248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2"/>
                  <a:pt x="2401042" y="642248"/>
                </a:cubicBezTo>
                <a:lnTo>
                  <a:pt x="2251901" y="499825"/>
                </a:lnTo>
                <a:lnTo>
                  <a:pt x="1727890" y="0"/>
                </a:lnTo>
                <a:lnTo>
                  <a:pt x="1727890" y="0"/>
                </a:lnTo>
                <a:lnTo>
                  <a:pt x="1727890" y="0"/>
                </a:lnTo>
                <a:lnTo>
                  <a:pt x="483702" y="0"/>
                </a:lnTo>
                <a:lnTo>
                  <a:pt x="0" y="1449762"/>
                </a:lnTo>
                <a:lnTo>
                  <a:pt x="1727890" y="1449762"/>
                </a:lnTo>
              </a:path>
            </a:pathLst>
          </a:custGeom>
          <a:solidFill>
            <a:srgbClr val="3A2E56"/>
          </a:solidFill>
          <a:ln w="13434" cap="flat">
            <a:no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C0F818F7-6F51-4BA7-BDCE-F72FD7274421}"/>
              </a:ext>
            </a:extLst>
          </p:cNvPr>
          <p:cNvSpPr/>
          <p:nvPr/>
        </p:nvSpPr>
        <p:spPr>
          <a:xfrm>
            <a:off x="5072663" y="4467391"/>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0905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1"/>
                  <a:pt x="2401042" y="640905"/>
                </a:cubicBezTo>
                <a:lnTo>
                  <a:pt x="2251901" y="499825"/>
                </a:lnTo>
                <a:lnTo>
                  <a:pt x="1727890" y="0"/>
                </a:lnTo>
                <a:lnTo>
                  <a:pt x="1727890" y="0"/>
                </a:lnTo>
                <a:lnTo>
                  <a:pt x="1727890" y="0"/>
                </a:lnTo>
                <a:lnTo>
                  <a:pt x="483702" y="0"/>
                </a:lnTo>
                <a:lnTo>
                  <a:pt x="0" y="1449762"/>
                </a:lnTo>
                <a:lnTo>
                  <a:pt x="1727890" y="1449762"/>
                </a:lnTo>
              </a:path>
            </a:pathLst>
          </a:custGeom>
          <a:solidFill>
            <a:schemeClr val="accent1">
              <a:lumMod val="75000"/>
            </a:schemeClr>
          </a:solidFill>
          <a:ln w="13434" cap="flat">
            <a:no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B8EC593-D82F-4F8C-AFCA-6C8264533172}"/>
              </a:ext>
            </a:extLst>
          </p:cNvPr>
          <p:cNvSpPr/>
          <p:nvPr/>
        </p:nvSpPr>
        <p:spPr>
          <a:xfrm>
            <a:off x="5467793" y="2775233"/>
            <a:ext cx="1956490" cy="1692156"/>
          </a:xfrm>
          <a:custGeom>
            <a:avLst/>
            <a:gdLst>
              <a:gd name="connsiteX0" fmla="*/ 1731921 w 2437655"/>
              <a:gd name="connsiteY0" fmla="*/ 1449762 h 1449761"/>
              <a:gd name="connsiteX1" fmla="*/ 2251901 w 2437655"/>
              <a:gd name="connsiteY1" fmla="*/ 953967 h 1449761"/>
              <a:gd name="connsiteX2" fmla="*/ 2402386 w 2437655"/>
              <a:gd name="connsiteY2" fmla="*/ 810200 h 1449761"/>
              <a:gd name="connsiteX3" fmla="*/ 2402386 w 2437655"/>
              <a:gd name="connsiteY3" fmla="*/ 643592 h 1449761"/>
              <a:gd name="connsiteX4" fmla="*/ 2251901 w 2437655"/>
              <a:gd name="connsiteY4" fmla="*/ 499825 h 1449761"/>
              <a:gd name="connsiteX5" fmla="*/ 1727890 w 2437655"/>
              <a:gd name="connsiteY5" fmla="*/ 0 h 1449761"/>
              <a:gd name="connsiteX6" fmla="*/ 1727890 w 2437655"/>
              <a:gd name="connsiteY6" fmla="*/ 0 h 1449761"/>
              <a:gd name="connsiteX7" fmla="*/ 1727890 w 2437655"/>
              <a:gd name="connsiteY7" fmla="*/ 0 h 1449761"/>
              <a:gd name="connsiteX8" fmla="*/ 483702 w 2437655"/>
              <a:gd name="connsiteY8" fmla="*/ 0 h 1449761"/>
              <a:gd name="connsiteX9" fmla="*/ 0 w 2437655"/>
              <a:gd name="connsiteY9" fmla="*/ 1449762 h 1449761"/>
              <a:gd name="connsiteX10" fmla="*/ 1727890 w 2437655"/>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655" h="1449761">
                <a:moveTo>
                  <a:pt x="1731921" y="1449762"/>
                </a:moveTo>
                <a:lnTo>
                  <a:pt x="2251901" y="953967"/>
                </a:lnTo>
                <a:lnTo>
                  <a:pt x="2402386" y="810200"/>
                </a:lnTo>
                <a:cubicBezTo>
                  <a:pt x="2449413" y="764518"/>
                  <a:pt x="2449413" y="689275"/>
                  <a:pt x="2402386" y="643592"/>
                </a:cubicBezTo>
                <a:lnTo>
                  <a:pt x="2251901" y="499825"/>
                </a:lnTo>
                <a:lnTo>
                  <a:pt x="1727890" y="0"/>
                </a:lnTo>
                <a:lnTo>
                  <a:pt x="1727890" y="0"/>
                </a:lnTo>
                <a:lnTo>
                  <a:pt x="1727890" y="0"/>
                </a:lnTo>
                <a:lnTo>
                  <a:pt x="483702" y="0"/>
                </a:lnTo>
                <a:lnTo>
                  <a:pt x="0" y="1449762"/>
                </a:lnTo>
                <a:lnTo>
                  <a:pt x="1727890" y="1449762"/>
                </a:lnTo>
              </a:path>
            </a:pathLst>
          </a:custGeom>
          <a:solidFill>
            <a:schemeClr val="accent1"/>
          </a:solidFill>
          <a:ln w="13434"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A10C4C8-485D-4390-845E-174D17258825}"/>
              </a:ext>
            </a:extLst>
          </p:cNvPr>
          <p:cNvSpPr/>
          <p:nvPr/>
        </p:nvSpPr>
        <p:spPr>
          <a:xfrm>
            <a:off x="4686790" y="6157980"/>
            <a:ext cx="1956221" cy="1692156"/>
          </a:xfrm>
          <a:custGeom>
            <a:avLst/>
            <a:gdLst>
              <a:gd name="connsiteX0" fmla="*/ 1731921 w 2437319"/>
              <a:gd name="connsiteY0" fmla="*/ 1449762 h 1449761"/>
              <a:gd name="connsiteX1" fmla="*/ 2251901 w 2437319"/>
              <a:gd name="connsiteY1" fmla="*/ 953967 h 1449761"/>
              <a:gd name="connsiteX2" fmla="*/ 2401042 w 2437319"/>
              <a:gd name="connsiteY2" fmla="*/ 811544 h 1449761"/>
              <a:gd name="connsiteX3" fmla="*/ 2401042 w 2437319"/>
              <a:gd name="connsiteY3" fmla="*/ 642248 h 1449761"/>
              <a:gd name="connsiteX4" fmla="*/ 2251901 w 2437319"/>
              <a:gd name="connsiteY4" fmla="*/ 499825 h 1449761"/>
              <a:gd name="connsiteX5" fmla="*/ 1727890 w 2437319"/>
              <a:gd name="connsiteY5" fmla="*/ 0 h 1449761"/>
              <a:gd name="connsiteX6" fmla="*/ 1727890 w 2437319"/>
              <a:gd name="connsiteY6" fmla="*/ 0 h 1449761"/>
              <a:gd name="connsiteX7" fmla="*/ 1727890 w 2437319"/>
              <a:gd name="connsiteY7" fmla="*/ 0 h 1449761"/>
              <a:gd name="connsiteX8" fmla="*/ 483702 w 2437319"/>
              <a:gd name="connsiteY8" fmla="*/ 0 h 1449761"/>
              <a:gd name="connsiteX9" fmla="*/ 0 w 2437319"/>
              <a:gd name="connsiteY9" fmla="*/ 1449762 h 1449761"/>
              <a:gd name="connsiteX10" fmla="*/ 1727890 w 2437319"/>
              <a:gd name="connsiteY10" fmla="*/ 1449762 h 1449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319" h="1449761">
                <a:moveTo>
                  <a:pt x="1731921" y="1449762"/>
                </a:moveTo>
                <a:lnTo>
                  <a:pt x="2251901" y="953967"/>
                </a:lnTo>
                <a:lnTo>
                  <a:pt x="2401042" y="811544"/>
                </a:lnTo>
                <a:cubicBezTo>
                  <a:pt x="2449412" y="765861"/>
                  <a:pt x="2449412" y="687931"/>
                  <a:pt x="2401042" y="642248"/>
                </a:cubicBezTo>
                <a:lnTo>
                  <a:pt x="2251901" y="499825"/>
                </a:lnTo>
                <a:lnTo>
                  <a:pt x="1727890" y="0"/>
                </a:lnTo>
                <a:lnTo>
                  <a:pt x="1727890" y="0"/>
                </a:lnTo>
                <a:lnTo>
                  <a:pt x="1727890" y="0"/>
                </a:lnTo>
                <a:lnTo>
                  <a:pt x="483702" y="0"/>
                </a:lnTo>
                <a:lnTo>
                  <a:pt x="0" y="1449762"/>
                </a:lnTo>
                <a:lnTo>
                  <a:pt x="1727890" y="1449762"/>
                </a:lnTo>
              </a:path>
            </a:pathLst>
          </a:custGeom>
          <a:solidFill>
            <a:schemeClr val="accent1">
              <a:lumMod val="50000"/>
            </a:schemeClr>
          </a:solidFill>
          <a:ln w="13434" cap="flat">
            <a:noFill/>
            <a:prstDash val="solid"/>
            <a:miter/>
          </a:ln>
        </p:spPr>
        <p:txBody>
          <a:bodyPr rtlCol="0" anchor="ctr"/>
          <a:lstStyle/>
          <a:p>
            <a:endParaRPr lang="en-US"/>
          </a:p>
        </p:txBody>
      </p:sp>
      <p:sp>
        <p:nvSpPr>
          <p:cNvPr id="1382" name="Rectangle 1381">
            <a:extLst>
              <a:ext uri="{FF2B5EF4-FFF2-40B4-BE49-F238E27FC236}">
                <a16:creationId xmlns:a16="http://schemas.microsoft.com/office/drawing/2014/main" id="{E089343E-661E-48E4-8090-476BBC7A0E25}"/>
              </a:ext>
            </a:extLst>
          </p:cNvPr>
          <p:cNvSpPr/>
          <p:nvPr/>
        </p:nvSpPr>
        <p:spPr>
          <a:xfrm flipH="1">
            <a:off x="359940" y="5197012"/>
            <a:ext cx="4467809" cy="1533753"/>
          </a:xfrm>
          <a:prstGeom prst="rect">
            <a:avLst/>
          </a:prstGeom>
        </p:spPr>
        <p:txBody>
          <a:bodyPr wrap="square" lIns="0" tIns="0" rIns="0" bIns="0">
            <a:spAutoFit/>
          </a:bodyPr>
          <a:lstStyle/>
          <a:p>
            <a:pPr>
              <a:spcBef>
                <a:spcPts val="200"/>
              </a:spcBef>
            </a:pPr>
            <a:r>
              <a:rPr lang="en-US" sz="2800">
                <a:solidFill>
                  <a:schemeClr val="bg1"/>
                </a:solidFill>
                <a:latin typeface="+mj-lt"/>
              </a:rPr>
              <a:t>Engage with the </a:t>
            </a:r>
            <a:br>
              <a:rPr lang="en-US" sz="2800">
                <a:solidFill>
                  <a:schemeClr val="bg1"/>
                </a:solidFill>
                <a:latin typeface="+mj-lt"/>
              </a:rPr>
            </a:br>
            <a:r>
              <a:rPr lang="en-US" sz="2800">
                <a:solidFill>
                  <a:schemeClr val="bg1"/>
                </a:solidFill>
                <a:latin typeface="+mj-lt"/>
              </a:rPr>
              <a:t>whole buying committee </a:t>
            </a:r>
          </a:p>
          <a:p>
            <a:pPr>
              <a:spcBef>
                <a:spcPts val="200"/>
              </a:spcBef>
            </a:pPr>
            <a:r>
              <a:rPr lang="en-US" sz="1400">
                <a:solidFill>
                  <a:schemeClr val="bg1"/>
                </a:solidFill>
                <a:latin typeface="+mj-lt"/>
              </a:rPr>
              <a:t>More than 80% of respondents who report being effective at building these relationships also report being effective at achieving sales goals. </a:t>
            </a:r>
            <a:endParaRPr lang="en-US" sz="1600">
              <a:solidFill>
                <a:schemeClr val="bg1"/>
              </a:solidFill>
              <a:latin typeface="+mj-lt"/>
            </a:endParaRPr>
          </a:p>
        </p:txBody>
      </p:sp>
      <p:sp>
        <p:nvSpPr>
          <p:cNvPr id="1388" name="Rectangle 1387">
            <a:extLst>
              <a:ext uri="{FF2B5EF4-FFF2-40B4-BE49-F238E27FC236}">
                <a16:creationId xmlns:a16="http://schemas.microsoft.com/office/drawing/2014/main" id="{1E025FE1-41D4-4DB2-B020-6222135EBC0E}"/>
              </a:ext>
            </a:extLst>
          </p:cNvPr>
          <p:cNvSpPr/>
          <p:nvPr/>
        </p:nvSpPr>
        <p:spPr>
          <a:xfrm>
            <a:off x="397069" y="3313941"/>
            <a:ext cx="4695881" cy="1461939"/>
          </a:xfrm>
          <a:prstGeom prst="rect">
            <a:avLst/>
          </a:prstGeom>
        </p:spPr>
        <p:txBody>
          <a:bodyPr wrap="square" lIns="0" tIns="0" rIns="0" bIns="0">
            <a:spAutoFit/>
          </a:bodyPr>
          <a:lstStyle/>
          <a:p>
            <a:pPr>
              <a:spcBef>
                <a:spcPts val="200"/>
              </a:spcBef>
              <a:spcAft>
                <a:spcPts val="400"/>
              </a:spcAft>
            </a:pPr>
            <a:r>
              <a:rPr lang="en-US" sz="2400">
                <a:solidFill>
                  <a:schemeClr val="bg1"/>
                </a:solidFill>
                <a:latin typeface="+mj-lt"/>
              </a:rPr>
              <a:t>Build and strengthen </a:t>
            </a:r>
            <a:br>
              <a:rPr lang="en-US" sz="2400">
                <a:solidFill>
                  <a:schemeClr val="bg1"/>
                </a:solidFill>
                <a:latin typeface="+mj-lt"/>
              </a:rPr>
            </a:br>
            <a:r>
              <a:rPr lang="en-US" sz="2400">
                <a:solidFill>
                  <a:schemeClr val="bg1"/>
                </a:solidFill>
                <a:latin typeface="+mj-lt"/>
              </a:rPr>
              <a:t>relationships with key prospects</a:t>
            </a:r>
          </a:p>
          <a:p>
            <a:pPr>
              <a:spcBef>
                <a:spcPts val="200"/>
              </a:spcBef>
              <a:spcAft>
                <a:spcPts val="400"/>
              </a:spcAft>
            </a:pPr>
            <a:r>
              <a:rPr lang="en-US" sz="1400">
                <a:solidFill>
                  <a:schemeClr val="bg1"/>
                </a:solidFill>
                <a:latin typeface="+mj-lt"/>
              </a:rPr>
              <a:t>More than 75% of those who achieve their revenue goals also say their organization has a strong alignment between sales and marketing</a:t>
            </a:r>
            <a:r>
              <a:rPr lang="en-US" sz="1400">
                <a:solidFill>
                  <a:schemeClr val="bg1"/>
                </a:solidFill>
              </a:rPr>
              <a:t>. </a:t>
            </a:r>
          </a:p>
        </p:txBody>
      </p:sp>
      <p:sp>
        <p:nvSpPr>
          <p:cNvPr id="1389" name="Rectangle 1388">
            <a:extLst>
              <a:ext uri="{FF2B5EF4-FFF2-40B4-BE49-F238E27FC236}">
                <a16:creationId xmlns:a16="http://schemas.microsoft.com/office/drawing/2014/main" id="{092C94FC-D191-4D3A-94B3-523DAEF4C852}"/>
              </a:ext>
            </a:extLst>
          </p:cNvPr>
          <p:cNvSpPr/>
          <p:nvPr/>
        </p:nvSpPr>
        <p:spPr>
          <a:xfrm flipH="1">
            <a:off x="382586" y="7248127"/>
            <a:ext cx="4249115" cy="1102866"/>
          </a:xfrm>
          <a:prstGeom prst="rect">
            <a:avLst/>
          </a:prstGeom>
        </p:spPr>
        <p:txBody>
          <a:bodyPr wrap="square" lIns="0" tIns="0" rIns="0" bIns="0">
            <a:spAutoFit/>
          </a:bodyPr>
          <a:lstStyle/>
          <a:p>
            <a:pPr>
              <a:spcBef>
                <a:spcPts val="200"/>
              </a:spcBef>
            </a:pPr>
            <a:r>
              <a:rPr lang="en-US" sz="2800">
                <a:solidFill>
                  <a:schemeClr val="bg1"/>
                </a:solidFill>
                <a:latin typeface="+mj-lt"/>
              </a:rPr>
              <a:t>It’s all about scale </a:t>
            </a:r>
          </a:p>
          <a:p>
            <a:pPr>
              <a:spcBef>
                <a:spcPts val="200"/>
              </a:spcBef>
            </a:pPr>
            <a:r>
              <a:rPr lang="en-US" sz="1400">
                <a:solidFill>
                  <a:schemeClr val="bg1"/>
                </a:solidFill>
                <a:latin typeface="+mj-lt"/>
              </a:rPr>
              <a:t>Over 70% of respondents said being effective at implementing this scaling process translates into met revenue goals.</a:t>
            </a:r>
          </a:p>
        </p:txBody>
      </p:sp>
      <p:sp>
        <p:nvSpPr>
          <p:cNvPr id="1390" name="Rectangle 1389">
            <a:extLst>
              <a:ext uri="{FF2B5EF4-FFF2-40B4-BE49-F238E27FC236}">
                <a16:creationId xmlns:a16="http://schemas.microsoft.com/office/drawing/2014/main" id="{6080227E-3AFA-45D6-9DEB-E771BA9A5980}"/>
              </a:ext>
            </a:extLst>
          </p:cNvPr>
          <p:cNvSpPr/>
          <p:nvPr/>
        </p:nvSpPr>
        <p:spPr>
          <a:xfrm flipH="1">
            <a:off x="382586" y="8831326"/>
            <a:ext cx="3770314" cy="1256754"/>
          </a:xfrm>
          <a:prstGeom prst="rect">
            <a:avLst/>
          </a:prstGeom>
        </p:spPr>
        <p:txBody>
          <a:bodyPr wrap="square" lIns="0" tIns="0" rIns="0" bIns="0">
            <a:spAutoFit/>
          </a:bodyPr>
          <a:lstStyle/>
          <a:p>
            <a:pPr>
              <a:spcBef>
                <a:spcPts val="200"/>
              </a:spcBef>
            </a:pPr>
            <a:r>
              <a:rPr lang="en-US" sz="2400">
                <a:solidFill>
                  <a:schemeClr val="bg1"/>
                </a:solidFill>
                <a:latin typeface="+mj-lt"/>
              </a:rPr>
              <a:t>Cross-platform is key</a:t>
            </a:r>
          </a:p>
          <a:p>
            <a:pPr>
              <a:spcBef>
                <a:spcPts val="200"/>
              </a:spcBef>
            </a:pPr>
            <a:r>
              <a:rPr lang="en-US" sz="1400">
                <a:solidFill>
                  <a:schemeClr val="bg1"/>
                </a:solidFill>
                <a:latin typeface="+mj-lt"/>
              </a:rPr>
              <a:t>Nearly 80% of successful organizations say their current set of sales tool capabilities are key in enabling their sales team to achieve their revenue targets.</a:t>
            </a:r>
          </a:p>
        </p:txBody>
      </p:sp>
      <p:sp>
        <p:nvSpPr>
          <p:cNvPr id="49" name="Oval 48">
            <a:extLst>
              <a:ext uri="{FF2B5EF4-FFF2-40B4-BE49-F238E27FC236}">
                <a16:creationId xmlns:a16="http://schemas.microsoft.com/office/drawing/2014/main" id="{C32850B9-8A77-4455-9CEC-A90167567397}"/>
              </a:ext>
            </a:extLst>
          </p:cNvPr>
          <p:cNvSpPr/>
          <p:nvPr/>
        </p:nvSpPr>
        <p:spPr bwMode="auto">
          <a:xfrm>
            <a:off x="5941214" y="3106961"/>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1" name="Oval 1390">
            <a:extLst>
              <a:ext uri="{FF2B5EF4-FFF2-40B4-BE49-F238E27FC236}">
                <a16:creationId xmlns:a16="http://schemas.microsoft.com/office/drawing/2014/main" id="{E64335E5-350E-466B-9E55-F324D4C84777}"/>
              </a:ext>
            </a:extLst>
          </p:cNvPr>
          <p:cNvSpPr/>
          <p:nvPr/>
        </p:nvSpPr>
        <p:spPr bwMode="auto">
          <a:xfrm>
            <a:off x="5545949" y="4799119"/>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2" name="Oval 1391">
            <a:extLst>
              <a:ext uri="{FF2B5EF4-FFF2-40B4-BE49-F238E27FC236}">
                <a16:creationId xmlns:a16="http://schemas.microsoft.com/office/drawing/2014/main" id="{A43639C9-8A38-43A6-9A14-AFD5882F157D}"/>
              </a:ext>
            </a:extLst>
          </p:cNvPr>
          <p:cNvSpPr/>
          <p:nvPr/>
        </p:nvSpPr>
        <p:spPr bwMode="auto">
          <a:xfrm>
            <a:off x="5150550" y="6489708"/>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393" name="Oval 1392">
            <a:extLst>
              <a:ext uri="{FF2B5EF4-FFF2-40B4-BE49-F238E27FC236}">
                <a16:creationId xmlns:a16="http://schemas.microsoft.com/office/drawing/2014/main" id="{39E08C4C-0D34-4834-A0CB-8BF01A09CABB}"/>
              </a:ext>
            </a:extLst>
          </p:cNvPr>
          <p:cNvSpPr/>
          <p:nvPr/>
        </p:nvSpPr>
        <p:spPr bwMode="auto">
          <a:xfrm>
            <a:off x="4765924" y="8181865"/>
            <a:ext cx="1028700" cy="102870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grpSp>
        <p:nvGrpSpPr>
          <p:cNvPr id="62" name="Group 61">
            <a:extLst>
              <a:ext uri="{FF2B5EF4-FFF2-40B4-BE49-F238E27FC236}">
                <a16:creationId xmlns:a16="http://schemas.microsoft.com/office/drawing/2014/main" id="{7563BCA4-73A5-4F06-A4CA-079E5AAB0059}"/>
              </a:ext>
            </a:extLst>
          </p:cNvPr>
          <p:cNvGrpSpPr/>
          <p:nvPr/>
        </p:nvGrpSpPr>
        <p:grpSpPr>
          <a:xfrm>
            <a:off x="4922134" y="8350993"/>
            <a:ext cx="716280" cy="690444"/>
            <a:chOff x="9620251" y="3994150"/>
            <a:chExt cx="792162" cy="763588"/>
          </a:xfrm>
        </p:grpSpPr>
        <p:sp>
          <p:nvSpPr>
            <p:cNvPr id="52" name="Freeform 61">
              <a:extLst>
                <a:ext uri="{FF2B5EF4-FFF2-40B4-BE49-F238E27FC236}">
                  <a16:creationId xmlns:a16="http://schemas.microsoft.com/office/drawing/2014/main" id="{5F3894B2-0BEA-40CE-A327-59B0F89A931A}"/>
                </a:ext>
              </a:extLst>
            </p:cNvPr>
            <p:cNvSpPr>
              <a:spLocks/>
            </p:cNvSpPr>
            <p:nvPr/>
          </p:nvSpPr>
          <p:spPr bwMode="auto">
            <a:xfrm>
              <a:off x="10088563" y="4319588"/>
              <a:ext cx="323850" cy="142875"/>
            </a:xfrm>
            <a:custGeom>
              <a:avLst/>
              <a:gdLst>
                <a:gd name="T0" fmla="*/ 137 w 176"/>
                <a:gd name="T1" fmla="*/ 0 h 78"/>
                <a:gd name="T2" fmla="*/ 137 w 176"/>
                <a:gd name="T3" fmla="*/ 0 h 78"/>
                <a:gd name="T4" fmla="*/ 0 w 176"/>
                <a:gd name="T5" fmla="*/ 0 h 78"/>
                <a:gd name="T6" fmla="*/ 10 w 176"/>
                <a:gd name="T7" fmla="*/ 18 h 78"/>
                <a:gd name="T8" fmla="*/ 17 w 176"/>
                <a:gd name="T9" fmla="*/ 54 h 78"/>
                <a:gd name="T10" fmla="*/ 17 w 176"/>
                <a:gd name="T11" fmla="*/ 62 h 78"/>
                <a:gd name="T12" fmla="*/ 33 w 176"/>
                <a:gd name="T13" fmla="*/ 78 h 78"/>
                <a:gd name="T14" fmla="*/ 59 w 176"/>
                <a:gd name="T15" fmla="*/ 52 h 78"/>
                <a:gd name="T16" fmla="*/ 85 w 176"/>
                <a:gd name="T17" fmla="*/ 78 h 78"/>
                <a:gd name="T18" fmla="*/ 111 w 176"/>
                <a:gd name="T19" fmla="*/ 52 h 78"/>
                <a:gd name="T20" fmla="*/ 137 w 176"/>
                <a:gd name="T21" fmla="*/ 78 h 78"/>
                <a:gd name="T22" fmla="*/ 176 w 176"/>
                <a:gd name="T23" fmla="*/ 39 h 78"/>
                <a:gd name="T24" fmla="*/ 137 w 176"/>
                <a:gd name="T25"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6" h="78">
                  <a:moveTo>
                    <a:pt x="137" y="0"/>
                  </a:moveTo>
                  <a:lnTo>
                    <a:pt x="137" y="0"/>
                  </a:lnTo>
                  <a:lnTo>
                    <a:pt x="0" y="0"/>
                  </a:lnTo>
                  <a:cubicBezTo>
                    <a:pt x="4" y="6"/>
                    <a:pt x="7" y="11"/>
                    <a:pt x="10" y="18"/>
                  </a:cubicBezTo>
                  <a:cubicBezTo>
                    <a:pt x="15" y="29"/>
                    <a:pt x="17" y="41"/>
                    <a:pt x="17" y="54"/>
                  </a:cubicBezTo>
                  <a:cubicBezTo>
                    <a:pt x="17" y="56"/>
                    <a:pt x="17" y="59"/>
                    <a:pt x="17" y="62"/>
                  </a:cubicBezTo>
                  <a:lnTo>
                    <a:pt x="33" y="78"/>
                  </a:lnTo>
                  <a:lnTo>
                    <a:pt x="59" y="52"/>
                  </a:lnTo>
                  <a:lnTo>
                    <a:pt x="85" y="78"/>
                  </a:lnTo>
                  <a:lnTo>
                    <a:pt x="111" y="52"/>
                  </a:lnTo>
                  <a:lnTo>
                    <a:pt x="137" y="78"/>
                  </a:lnTo>
                  <a:lnTo>
                    <a:pt x="176" y="39"/>
                  </a:lnTo>
                  <a:lnTo>
                    <a:pt x="13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3" name="Freeform 62">
              <a:extLst>
                <a:ext uri="{FF2B5EF4-FFF2-40B4-BE49-F238E27FC236}">
                  <a16:creationId xmlns:a16="http://schemas.microsoft.com/office/drawing/2014/main" id="{BED2A9C7-8117-4A61-8C1B-ABF92F35E531}"/>
                </a:ext>
              </a:extLst>
            </p:cNvPr>
            <p:cNvSpPr>
              <a:spLocks/>
            </p:cNvSpPr>
            <p:nvPr/>
          </p:nvSpPr>
          <p:spPr bwMode="auto">
            <a:xfrm>
              <a:off x="9782176" y="4249738"/>
              <a:ext cx="506413" cy="508000"/>
            </a:xfrm>
            <a:custGeom>
              <a:avLst/>
              <a:gdLst>
                <a:gd name="T0" fmla="*/ 177 w 275"/>
                <a:gd name="T1" fmla="*/ 123 h 276"/>
                <a:gd name="T2" fmla="*/ 177 w 275"/>
                <a:gd name="T3" fmla="*/ 123 h 276"/>
                <a:gd name="T4" fmla="*/ 181 w 275"/>
                <a:gd name="T5" fmla="*/ 111 h 276"/>
                <a:gd name="T6" fmla="*/ 183 w 275"/>
                <a:gd name="T7" fmla="*/ 100 h 276"/>
                <a:gd name="T8" fmla="*/ 183 w 275"/>
                <a:gd name="T9" fmla="*/ 92 h 276"/>
                <a:gd name="T10" fmla="*/ 176 w 275"/>
                <a:gd name="T11" fmla="*/ 56 h 276"/>
                <a:gd name="T12" fmla="*/ 166 w 275"/>
                <a:gd name="T13" fmla="*/ 38 h 276"/>
                <a:gd name="T14" fmla="*/ 156 w 275"/>
                <a:gd name="T15" fmla="*/ 27 h 276"/>
                <a:gd name="T16" fmla="*/ 127 w 275"/>
                <a:gd name="T17" fmla="*/ 7 h 276"/>
                <a:gd name="T18" fmla="*/ 123 w 275"/>
                <a:gd name="T19" fmla="*/ 5 h 276"/>
                <a:gd name="T20" fmla="*/ 123 w 275"/>
                <a:gd name="T21" fmla="*/ 5 h 276"/>
                <a:gd name="T22" fmla="*/ 123 w 275"/>
                <a:gd name="T23" fmla="*/ 5 h 276"/>
                <a:gd name="T24" fmla="*/ 96 w 275"/>
                <a:gd name="T25" fmla="*/ 0 h 276"/>
                <a:gd name="T26" fmla="*/ 91 w 275"/>
                <a:gd name="T27" fmla="*/ 0 h 276"/>
                <a:gd name="T28" fmla="*/ 55 w 275"/>
                <a:gd name="T29" fmla="*/ 7 h 276"/>
                <a:gd name="T30" fmla="*/ 26 w 275"/>
                <a:gd name="T31" fmla="*/ 27 h 276"/>
                <a:gd name="T32" fmla="*/ 19 w 275"/>
                <a:gd name="T33" fmla="*/ 35 h 276"/>
                <a:gd name="T34" fmla="*/ 20 w 275"/>
                <a:gd name="T35" fmla="*/ 36 h 276"/>
                <a:gd name="T36" fmla="*/ 36 w 275"/>
                <a:gd name="T37" fmla="*/ 33 h 276"/>
                <a:gd name="T38" fmla="*/ 47 w 275"/>
                <a:gd name="T39" fmla="*/ 27 h 276"/>
                <a:gd name="T40" fmla="*/ 55 w 275"/>
                <a:gd name="T41" fmla="*/ 21 h 276"/>
                <a:gd name="T42" fmla="*/ 87 w 275"/>
                <a:gd name="T43" fmla="*/ 34 h 276"/>
                <a:gd name="T44" fmla="*/ 96 w 275"/>
                <a:gd name="T45" fmla="*/ 82 h 276"/>
                <a:gd name="T46" fmla="*/ 89 w 275"/>
                <a:gd name="T47" fmla="*/ 87 h 276"/>
                <a:gd name="T48" fmla="*/ 62 w 275"/>
                <a:gd name="T49" fmla="*/ 101 h 276"/>
                <a:gd name="T50" fmla="*/ 20 w 275"/>
                <a:gd name="T51" fmla="*/ 109 h 276"/>
                <a:gd name="T52" fmla="*/ 0 w 275"/>
                <a:gd name="T53" fmla="*/ 107 h 276"/>
                <a:gd name="T54" fmla="*/ 6 w 275"/>
                <a:gd name="T55" fmla="*/ 127 h 276"/>
                <a:gd name="T56" fmla="*/ 26 w 275"/>
                <a:gd name="T57" fmla="*/ 157 h 276"/>
                <a:gd name="T58" fmla="*/ 55 w 275"/>
                <a:gd name="T59" fmla="*/ 176 h 276"/>
                <a:gd name="T60" fmla="*/ 91 w 275"/>
                <a:gd name="T61" fmla="*/ 184 h 276"/>
                <a:gd name="T62" fmla="*/ 121 w 275"/>
                <a:gd name="T63" fmla="*/ 178 h 276"/>
                <a:gd name="T64" fmla="*/ 146 w 275"/>
                <a:gd name="T65" fmla="*/ 165 h 276"/>
                <a:gd name="T66" fmla="*/ 146 w 275"/>
                <a:gd name="T67" fmla="*/ 165 h 276"/>
                <a:gd name="T68" fmla="*/ 146 w 275"/>
                <a:gd name="T69" fmla="*/ 202 h 276"/>
                <a:gd name="T70" fmla="*/ 183 w 275"/>
                <a:gd name="T71" fmla="*/ 202 h 276"/>
                <a:gd name="T72" fmla="*/ 183 w 275"/>
                <a:gd name="T73" fmla="*/ 239 h 276"/>
                <a:gd name="T74" fmla="*/ 220 w 275"/>
                <a:gd name="T75" fmla="*/ 239 h 276"/>
                <a:gd name="T76" fmla="*/ 220 w 275"/>
                <a:gd name="T77" fmla="*/ 276 h 276"/>
                <a:gd name="T78" fmla="*/ 275 w 275"/>
                <a:gd name="T79" fmla="*/ 276 h 276"/>
                <a:gd name="T80" fmla="*/ 275 w 275"/>
                <a:gd name="T81" fmla="*/ 221 h 276"/>
                <a:gd name="T82" fmla="*/ 177 w 275"/>
                <a:gd name="T83" fmla="*/ 12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5" h="276">
                  <a:moveTo>
                    <a:pt x="177" y="123"/>
                  </a:moveTo>
                  <a:lnTo>
                    <a:pt x="177" y="123"/>
                  </a:lnTo>
                  <a:cubicBezTo>
                    <a:pt x="179" y="119"/>
                    <a:pt x="180" y="115"/>
                    <a:pt x="181" y="111"/>
                  </a:cubicBezTo>
                  <a:cubicBezTo>
                    <a:pt x="182" y="107"/>
                    <a:pt x="182" y="104"/>
                    <a:pt x="183" y="100"/>
                  </a:cubicBezTo>
                  <a:cubicBezTo>
                    <a:pt x="183" y="97"/>
                    <a:pt x="183" y="94"/>
                    <a:pt x="183" y="92"/>
                  </a:cubicBezTo>
                  <a:cubicBezTo>
                    <a:pt x="183" y="79"/>
                    <a:pt x="181" y="67"/>
                    <a:pt x="176" y="56"/>
                  </a:cubicBezTo>
                  <a:cubicBezTo>
                    <a:pt x="173" y="49"/>
                    <a:pt x="170" y="44"/>
                    <a:pt x="166" y="38"/>
                  </a:cubicBezTo>
                  <a:cubicBezTo>
                    <a:pt x="163" y="34"/>
                    <a:pt x="160" y="30"/>
                    <a:pt x="156" y="27"/>
                  </a:cubicBezTo>
                  <a:cubicBezTo>
                    <a:pt x="148" y="18"/>
                    <a:pt x="138" y="12"/>
                    <a:pt x="127" y="7"/>
                  </a:cubicBezTo>
                  <a:cubicBezTo>
                    <a:pt x="126" y="6"/>
                    <a:pt x="124" y="6"/>
                    <a:pt x="123" y="5"/>
                  </a:cubicBezTo>
                  <a:lnTo>
                    <a:pt x="123" y="5"/>
                  </a:lnTo>
                  <a:lnTo>
                    <a:pt x="123" y="5"/>
                  </a:lnTo>
                  <a:cubicBezTo>
                    <a:pt x="114" y="2"/>
                    <a:pt x="105" y="0"/>
                    <a:pt x="96" y="0"/>
                  </a:cubicBezTo>
                  <a:cubicBezTo>
                    <a:pt x="94" y="0"/>
                    <a:pt x="93" y="0"/>
                    <a:pt x="91" y="0"/>
                  </a:cubicBezTo>
                  <a:cubicBezTo>
                    <a:pt x="78" y="0"/>
                    <a:pt x="66" y="2"/>
                    <a:pt x="55" y="7"/>
                  </a:cubicBezTo>
                  <a:cubicBezTo>
                    <a:pt x="44" y="12"/>
                    <a:pt x="34" y="18"/>
                    <a:pt x="26" y="27"/>
                  </a:cubicBezTo>
                  <a:cubicBezTo>
                    <a:pt x="23" y="29"/>
                    <a:pt x="21" y="32"/>
                    <a:pt x="19" y="35"/>
                  </a:cubicBezTo>
                  <a:cubicBezTo>
                    <a:pt x="19" y="35"/>
                    <a:pt x="20" y="36"/>
                    <a:pt x="20" y="36"/>
                  </a:cubicBezTo>
                  <a:cubicBezTo>
                    <a:pt x="25" y="36"/>
                    <a:pt x="31" y="35"/>
                    <a:pt x="36" y="33"/>
                  </a:cubicBezTo>
                  <a:cubicBezTo>
                    <a:pt x="40" y="31"/>
                    <a:pt x="43" y="29"/>
                    <a:pt x="47" y="27"/>
                  </a:cubicBezTo>
                  <a:lnTo>
                    <a:pt x="55" y="21"/>
                  </a:lnTo>
                  <a:cubicBezTo>
                    <a:pt x="55" y="21"/>
                    <a:pt x="68" y="15"/>
                    <a:pt x="87" y="34"/>
                  </a:cubicBezTo>
                  <a:cubicBezTo>
                    <a:pt x="111" y="62"/>
                    <a:pt x="96" y="82"/>
                    <a:pt x="96" y="82"/>
                  </a:cubicBezTo>
                  <a:lnTo>
                    <a:pt x="89" y="87"/>
                  </a:lnTo>
                  <a:cubicBezTo>
                    <a:pt x="80" y="93"/>
                    <a:pt x="71" y="98"/>
                    <a:pt x="62" y="101"/>
                  </a:cubicBezTo>
                  <a:cubicBezTo>
                    <a:pt x="48" y="106"/>
                    <a:pt x="34" y="109"/>
                    <a:pt x="20" y="109"/>
                  </a:cubicBezTo>
                  <a:cubicBezTo>
                    <a:pt x="13" y="109"/>
                    <a:pt x="7" y="108"/>
                    <a:pt x="0" y="107"/>
                  </a:cubicBezTo>
                  <a:cubicBezTo>
                    <a:pt x="2" y="114"/>
                    <a:pt x="3" y="121"/>
                    <a:pt x="6" y="127"/>
                  </a:cubicBezTo>
                  <a:cubicBezTo>
                    <a:pt x="11" y="139"/>
                    <a:pt x="18" y="148"/>
                    <a:pt x="26" y="157"/>
                  </a:cubicBezTo>
                  <a:cubicBezTo>
                    <a:pt x="34" y="165"/>
                    <a:pt x="44" y="172"/>
                    <a:pt x="55" y="176"/>
                  </a:cubicBezTo>
                  <a:cubicBezTo>
                    <a:pt x="66" y="181"/>
                    <a:pt x="78" y="184"/>
                    <a:pt x="91" y="184"/>
                  </a:cubicBezTo>
                  <a:cubicBezTo>
                    <a:pt x="101" y="184"/>
                    <a:pt x="112" y="182"/>
                    <a:pt x="121" y="178"/>
                  </a:cubicBezTo>
                  <a:cubicBezTo>
                    <a:pt x="130" y="175"/>
                    <a:pt x="139" y="171"/>
                    <a:pt x="146" y="165"/>
                  </a:cubicBezTo>
                  <a:lnTo>
                    <a:pt x="146" y="165"/>
                  </a:lnTo>
                  <a:lnTo>
                    <a:pt x="146" y="202"/>
                  </a:lnTo>
                  <a:lnTo>
                    <a:pt x="183" y="202"/>
                  </a:lnTo>
                  <a:lnTo>
                    <a:pt x="183" y="239"/>
                  </a:lnTo>
                  <a:lnTo>
                    <a:pt x="220" y="239"/>
                  </a:lnTo>
                  <a:lnTo>
                    <a:pt x="220" y="276"/>
                  </a:lnTo>
                  <a:lnTo>
                    <a:pt x="275" y="276"/>
                  </a:lnTo>
                  <a:lnTo>
                    <a:pt x="275" y="221"/>
                  </a:lnTo>
                  <a:lnTo>
                    <a:pt x="177" y="123"/>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 name="Freeform 63">
              <a:extLst>
                <a:ext uri="{FF2B5EF4-FFF2-40B4-BE49-F238E27FC236}">
                  <a16:creationId xmlns:a16="http://schemas.microsoft.com/office/drawing/2014/main" id="{E10D8E32-510F-4244-BB70-F12535F573ED}"/>
                </a:ext>
              </a:extLst>
            </p:cNvPr>
            <p:cNvSpPr>
              <a:spLocks/>
            </p:cNvSpPr>
            <p:nvPr/>
          </p:nvSpPr>
          <p:spPr bwMode="auto">
            <a:xfrm>
              <a:off x="9904413" y="4325938"/>
              <a:ext cx="28575" cy="41275"/>
            </a:xfrm>
            <a:custGeom>
              <a:avLst/>
              <a:gdLst>
                <a:gd name="T0" fmla="*/ 2 w 16"/>
                <a:gd name="T1" fmla="*/ 1 h 22"/>
                <a:gd name="T2" fmla="*/ 2 w 16"/>
                <a:gd name="T3" fmla="*/ 1 h 22"/>
                <a:gd name="T4" fmla="*/ 3 w 16"/>
                <a:gd name="T5" fmla="*/ 1 h 22"/>
                <a:gd name="T6" fmla="*/ 3 w 16"/>
                <a:gd name="T7" fmla="*/ 1 h 22"/>
                <a:gd name="T8" fmla="*/ 5 w 16"/>
                <a:gd name="T9" fmla="*/ 2 h 22"/>
                <a:gd name="T10" fmla="*/ 10 w 16"/>
                <a:gd name="T11" fmla="*/ 6 h 22"/>
                <a:gd name="T12" fmla="*/ 14 w 16"/>
                <a:gd name="T13" fmla="*/ 11 h 22"/>
                <a:gd name="T14" fmla="*/ 16 w 16"/>
                <a:gd name="T15" fmla="*/ 19 h 22"/>
                <a:gd name="T16" fmla="*/ 16 w 16"/>
                <a:gd name="T17" fmla="*/ 20 h 22"/>
                <a:gd name="T18" fmla="*/ 16 w 16"/>
                <a:gd name="T19" fmla="*/ 21 h 22"/>
                <a:gd name="T20" fmla="*/ 16 w 16"/>
                <a:gd name="T21" fmla="*/ 22 h 22"/>
                <a:gd name="T22" fmla="*/ 16 w 16"/>
                <a:gd name="T23" fmla="*/ 22 h 22"/>
                <a:gd name="T24" fmla="*/ 16 w 16"/>
                <a:gd name="T25" fmla="*/ 22 h 22"/>
                <a:gd name="T26" fmla="*/ 16 w 16"/>
                <a:gd name="T27" fmla="*/ 21 h 22"/>
                <a:gd name="T28" fmla="*/ 16 w 16"/>
                <a:gd name="T29" fmla="*/ 20 h 22"/>
                <a:gd name="T30" fmla="*/ 16 w 16"/>
                <a:gd name="T31" fmla="*/ 19 h 22"/>
                <a:gd name="T32" fmla="*/ 14 w 16"/>
                <a:gd name="T33" fmla="*/ 11 h 22"/>
                <a:gd name="T34" fmla="*/ 10 w 16"/>
                <a:gd name="T35" fmla="*/ 6 h 22"/>
                <a:gd name="T36" fmla="*/ 5 w 16"/>
                <a:gd name="T37" fmla="*/ 2 h 22"/>
                <a:gd name="T38" fmla="*/ 3 w 16"/>
                <a:gd name="T39" fmla="*/ 1 h 22"/>
                <a:gd name="T40" fmla="*/ 3 w 16"/>
                <a:gd name="T41" fmla="*/ 1 h 22"/>
                <a:gd name="T42" fmla="*/ 2 w 16"/>
                <a:gd name="T43" fmla="*/ 1 h 22"/>
                <a:gd name="T44" fmla="*/ 0 w 16"/>
                <a:gd name="T45" fmla="*/ 0 h 22"/>
                <a:gd name="T46" fmla="*/ 0 w 16"/>
                <a:gd name="T47" fmla="*/ 0 h 22"/>
                <a:gd name="T48" fmla="*/ 2 w 16"/>
                <a:gd name="T49"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22">
                  <a:moveTo>
                    <a:pt x="2" y="1"/>
                  </a:moveTo>
                  <a:lnTo>
                    <a:pt x="2" y="1"/>
                  </a:lnTo>
                  <a:cubicBezTo>
                    <a:pt x="2" y="1"/>
                    <a:pt x="2" y="1"/>
                    <a:pt x="3" y="1"/>
                  </a:cubicBezTo>
                  <a:cubicBezTo>
                    <a:pt x="3" y="1"/>
                    <a:pt x="3" y="1"/>
                    <a:pt x="3" y="1"/>
                  </a:cubicBezTo>
                  <a:cubicBezTo>
                    <a:pt x="4" y="1"/>
                    <a:pt x="4" y="1"/>
                    <a:pt x="5" y="2"/>
                  </a:cubicBezTo>
                  <a:cubicBezTo>
                    <a:pt x="7" y="3"/>
                    <a:pt x="9" y="4"/>
                    <a:pt x="10" y="6"/>
                  </a:cubicBezTo>
                  <a:cubicBezTo>
                    <a:pt x="12" y="7"/>
                    <a:pt x="13" y="9"/>
                    <a:pt x="14" y="11"/>
                  </a:cubicBezTo>
                  <a:cubicBezTo>
                    <a:pt x="15" y="14"/>
                    <a:pt x="16" y="16"/>
                    <a:pt x="16" y="19"/>
                  </a:cubicBezTo>
                  <a:cubicBezTo>
                    <a:pt x="16" y="19"/>
                    <a:pt x="16" y="20"/>
                    <a:pt x="16" y="20"/>
                  </a:cubicBezTo>
                  <a:cubicBezTo>
                    <a:pt x="16" y="20"/>
                    <a:pt x="16" y="21"/>
                    <a:pt x="16" y="21"/>
                  </a:cubicBezTo>
                  <a:cubicBezTo>
                    <a:pt x="16" y="21"/>
                    <a:pt x="16" y="21"/>
                    <a:pt x="16" y="22"/>
                  </a:cubicBezTo>
                  <a:cubicBezTo>
                    <a:pt x="16" y="22"/>
                    <a:pt x="16" y="22"/>
                    <a:pt x="16" y="22"/>
                  </a:cubicBezTo>
                  <a:cubicBezTo>
                    <a:pt x="16" y="22"/>
                    <a:pt x="16" y="22"/>
                    <a:pt x="16" y="22"/>
                  </a:cubicBezTo>
                  <a:cubicBezTo>
                    <a:pt x="16" y="21"/>
                    <a:pt x="16" y="21"/>
                    <a:pt x="16" y="21"/>
                  </a:cubicBezTo>
                  <a:cubicBezTo>
                    <a:pt x="16" y="21"/>
                    <a:pt x="16" y="20"/>
                    <a:pt x="16" y="20"/>
                  </a:cubicBezTo>
                  <a:cubicBezTo>
                    <a:pt x="16" y="20"/>
                    <a:pt x="16" y="19"/>
                    <a:pt x="16" y="19"/>
                  </a:cubicBezTo>
                  <a:cubicBezTo>
                    <a:pt x="16" y="16"/>
                    <a:pt x="15" y="14"/>
                    <a:pt x="14" y="11"/>
                  </a:cubicBezTo>
                  <a:cubicBezTo>
                    <a:pt x="13" y="9"/>
                    <a:pt x="12" y="7"/>
                    <a:pt x="10" y="6"/>
                  </a:cubicBezTo>
                  <a:cubicBezTo>
                    <a:pt x="9" y="4"/>
                    <a:pt x="7" y="3"/>
                    <a:pt x="5" y="2"/>
                  </a:cubicBezTo>
                  <a:cubicBezTo>
                    <a:pt x="4" y="1"/>
                    <a:pt x="4" y="1"/>
                    <a:pt x="3" y="1"/>
                  </a:cubicBezTo>
                  <a:cubicBezTo>
                    <a:pt x="3" y="1"/>
                    <a:pt x="3" y="1"/>
                    <a:pt x="3" y="1"/>
                  </a:cubicBezTo>
                  <a:cubicBezTo>
                    <a:pt x="2" y="1"/>
                    <a:pt x="2" y="1"/>
                    <a:pt x="2" y="1"/>
                  </a:cubicBezTo>
                  <a:cubicBezTo>
                    <a:pt x="1" y="1"/>
                    <a:pt x="1" y="0"/>
                    <a:pt x="0" y="0"/>
                  </a:cubicBezTo>
                  <a:lnTo>
                    <a:pt x="0" y="0"/>
                  </a:lnTo>
                  <a:cubicBezTo>
                    <a:pt x="1" y="0"/>
                    <a:pt x="1" y="1"/>
                    <a:pt x="2" y="1"/>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 name="Freeform 64">
              <a:extLst>
                <a:ext uri="{FF2B5EF4-FFF2-40B4-BE49-F238E27FC236}">
                  <a16:creationId xmlns:a16="http://schemas.microsoft.com/office/drawing/2014/main" id="{2431323C-0795-46E8-BD19-1429FF78C527}"/>
                </a:ext>
              </a:extLst>
            </p:cNvPr>
            <p:cNvSpPr>
              <a:spLocks/>
            </p:cNvSpPr>
            <p:nvPr/>
          </p:nvSpPr>
          <p:spPr bwMode="auto">
            <a:xfrm>
              <a:off x="9809163" y="4370388"/>
              <a:ext cx="122238" cy="34925"/>
            </a:xfrm>
            <a:custGeom>
              <a:avLst/>
              <a:gdLst>
                <a:gd name="T0" fmla="*/ 44 w 67"/>
                <a:gd name="T1" fmla="*/ 12 h 19"/>
                <a:gd name="T2" fmla="*/ 44 w 67"/>
                <a:gd name="T3" fmla="*/ 12 h 19"/>
                <a:gd name="T4" fmla="*/ 0 w 67"/>
                <a:gd name="T5" fmla="*/ 18 h 19"/>
                <a:gd name="T6" fmla="*/ 44 w 67"/>
                <a:gd name="T7" fmla="*/ 12 h 19"/>
                <a:gd name="T8" fmla="*/ 67 w 67"/>
                <a:gd name="T9" fmla="*/ 0 h 19"/>
                <a:gd name="T10" fmla="*/ 67 w 67"/>
                <a:gd name="T11" fmla="*/ 0 h 19"/>
                <a:gd name="T12" fmla="*/ 44 w 67"/>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67" h="19">
                  <a:moveTo>
                    <a:pt x="44" y="12"/>
                  </a:moveTo>
                  <a:lnTo>
                    <a:pt x="44" y="12"/>
                  </a:lnTo>
                  <a:cubicBezTo>
                    <a:pt x="30" y="17"/>
                    <a:pt x="15" y="19"/>
                    <a:pt x="0" y="18"/>
                  </a:cubicBezTo>
                  <a:cubicBezTo>
                    <a:pt x="15" y="19"/>
                    <a:pt x="30" y="17"/>
                    <a:pt x="44" y="12"/>
                  </a:cubicBezTo>
                  <a:cubicBezTo>
                    <a:pt x="52" y="9"/>
                    <a:pt x="60" y="5"/>
                    <a:pt x="67" y="0"/>
                  </a:cubicBezTo>
                  <a:lnTo>
                    <a:pt x="67" y="0"/>
                  </a:lnTo>
                  <a:cubicBezTo>
                    <a:pt x="60" y="5"/>
                    <a:pt x="52" y="9"/>
                    <a:pt x="44" y="12"/>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65">
              <a:extLst>
                <a:ext uri="{FF2B5EF4-FFF2-40B4-BE49-F238E27FC236}">
                  <a16:creationId xmlns:a16="http://schemas.microsoft.com/office/drawing/2014/main" id="{93DDAAA5-F0D6-4C44-9A18-88524532D25B}"/>
                </a:ext>
              </a:extLst>
            </p:cNvPr>
            <p:cNvSpPr>
              <a:spLocks/>
            </p:cNvSpPr>
            <p:nvPr/>
          </p:nvSpPr>
          <p:spPr bwMode="auto">
            <a:xfrm>
              <a:off x="9931401" y="4367213"/>
              <a:ext cx="1588" cy="3175"/>
            </a:xfrm>
            <a:custGeom>
              <a:avLst/>
              <a:gdLst>
                <a:gd name="T0" fmla="*/ 0 w 1"/>
                <a:gd name="T1" fmla="*/ 2 h 2"/>
                <a:gd name="T2" fmla="*/ 0 w 1"/>
                <a:gd name="T3" fmla="*/ 2 h 2"/>
                <a:gd name="T4" fmla="*/ 0 w 1"/>
                <a:gd name="T5" fmla="*/ 2 h 2"/>
                <a:gd name="T6" fmla="*/ 0 w 1"/>
                <a:gd name="T7" fmla="*/ 2 h 2"/>
                <a:gd name="T8" fmla="*/ 0 w 1"/>
                <a:gd name="T9" fmla="*/ 2 h 2"/>
                <a:gd name="T10" fmla="*/ 1 w 1"/>
                <a:gd name="T11" fmla="*/ 0 h 2"/>
                <a:gd name="T12" fmla="*/ 1 w 1"/>
                <a:gd name="T13" fmla="*/ 0 h 2"/>
                <a:gd name="T14" fmla="*/ 0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0" y="2"/>
                  </a:moveTo>
                  <a:lnTo>
                    <a:pt x="0" y="2"/>
                  </a:lnTo>
                  <a:cubicBezTo>
                    <a:pt x="0" y="2"/>
                    <a:pt x="0" y="2"/>
                    <a:pt x="0" y="2"/>
                  </a:cubicBezTo>
                  <a:lnTo>
                    <a:pt x="0" y="2"/>
                  </a:lnTo>
                  <a:cubicBezTo>
                    <a:pt x="0" y="2"/>
                    <a:pt x="0" y="2"/>
                    <a:pt x="0" y="2"/>
                  </a:cubicBezTo>
                  <a:cubicBezTo>
                    <a:pt x="0" y="1"/>
                    <a:pt x="0" y="0"/>
                    <a:pt x="1" y="0"/>
                  </a:cubicBezTo>
                  <a:cubicBezTo>
                    <a:pt x="1" y="0"/>
                    <a:pt x="1" y="0"/>
                    <a:pt x="1" y="0"/>
                  </a:cubicBezTo>
                  <a:cubicBezTo>
                    <a:pt x="0" y="0"/>
                    <a:pt x="0" y="1"/>
                    <a:pt x="0" y="2"/>
                  </a:cubicBezTo>
                  <a:close/>
                </a:path>
              </a:pathLst>
            </a:custGeom>
            <a:solidFill>
              <a:srgbClr val="FCFCFC"/>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66">
              <a:extLst>
                <a:ext uri="{FF2B5EF4-FFF2-40B4-BE49-F238E27FC236}">
                  <a16:creationId xmlns:a16="http://schemas.microsoft.com/office/drawing/2014/main" id="{3F5BE53B-C883-4449-8148-76095C5C6C46}"/>
                </a:ext>
              </a:extLst>
            </p:cNvPr>
            <p:cNvSpPr>
              <a:spLocks/>
            </p:cNvSpPr>
            <p:nvPr/>
          </p:nvSpPr>
          <p:spPr bwMode="auto">
            <a:xfrm>
              <a:off x="9959976" y="4249738"/>
              <a:ext cx="49213" cy="7938"/>
            </a:xfrm>
            <a:custGeom>
              <a:avLst/>
              <a:gdLst>
                <a:gd name="T0" fmla="*/ 0 w 27"/>
                <a:gd name="T1" fmla="*/ 0 h 5"/>
                <a:gd name="T2" fmla="*/ 0 w 27"/>
                <a:gd name="T3" fmla="*/ 0 h 5"/>
                <a:gd name="T4" fmla="*/ 27 w 27"/>
                <a:gd name="T5" fmla="*/ 5 h 5"/>
                <a:gd name="T6" fmla="*/ 27 w 27"/>
                <a:gd name="T7" fmla="*/ 5 h 5"/>
                <a:gd name="T8" fmla="*/ 0 w 27"/>
                <a:gd name="T9" fmla="*/ 0 h 5"/>
                <a:gd name="T10" fmla="*/ 0 w 27"/>
                <a:gd name="T11" fmla="*/ 0 h 5"/>
              </a:gdLst>
              <a:ahLst/>
              <a:cxnLst>
                <a:cxn ang="0">
                  <a:pos x="T0" y="T1"/>
                </a:cxn>
                <a:cxn ang="0">
                  <a:pos x="T2" y="T3"/>
                </a:cxn>
                <a:cxn ang="0">
                  <a:pos x="T4" y="T5"/>
                </a:cxn>
                <a:cxn ang="0">
                  <a:pos x="T6" y="T7"/>
                </a:cxn>
                <a:cxn ang="0">
                  <a:pos x="T8" y="T9"/>
                </a:cxn>
                <a:cxn ang="0">
                  <a:pos x="T10" y="T11"/>
                </a:cxn>
              </a:cxnLst>
              <a:rect l="0" t="0" r="r" b="b"/>
              <a:pathLst>
                <a:path w="27" h="5">
                  <a:moveTo>
                    <a:pt x="0" y="0"/>
                  </a:moveTo>
                  <a:lnTo>
                    <a:pt x="0" y="0"/>
                  </a:lnTo>
                  <a:cubicBezTo>
                    <a:pt x="9" y="0"/>
                    <a:pt x="18" y="2"/>
                    <a:pt x="27" y="5"/>
                  </a:cubicBezTo>
                  <a:lnTo>
                    <a:pt x="27" y="5"/>
                  </a:lnTo>
                  <a:cubicBezTo>
                    <a:pt x="18" y="2"/>
                    <a:pt x="9" y="0"/>
                    <a:pt x="0" y="0"/>
                  </a:cubicBezTo>
                  <a:lnTo>
                    <a:pt x="0"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67">
              <a:extLst>
                <a:ext uri="{FF2B5EF4-FFF2-40B4-BE49-F238E27FC236}">
                  <a16:creationId xmlns:a16="http://schemas.microsoft.com/office/drawing/2014/main" id="{F106D3C2-64C4-49AE-82AA-0586AD60510B}"/>
                </a:ext>
              </a:extLst>
            </p:cNvPr>
            <p:cNvSpPr>
              <a:spLocks/>
            </p:cNvSpPr>
            <p:nvPr/>
          </p:nvSpPr>
          <p:spPr bwMode="auto">
            <a:xfrm>
              <a:off x="9620251" y="3994150"/>
              <a:ext cx="404813" cy="411163"/>
            </a:xfrm>
            <a:custGeom>
              <a:avLst/>
              <a:gdLst>
                <a:gd name="T0" fmla="*/ 182 w 220"/>
                <a:gd name="T1" fmla="*/ 42 h 223"/>
                <a:gd name="T2" fmla="*/ 182 w 220"/>
                <a:gd name="T3" fmla="*/ 42 h 223"/>
                <a:gd name="T4" fmla="*/ 146 w 220"/>
                <a:gd name="T5" fmla="*/ 20 h 223"/>
                <a:gd name="T6" fmla="*/ 10 w 220"/>
                <a:gd name="T7" fmla="*/ 80 h 223"/>
                <a:gd name="T8" fmla="*/ 7 w 220"/>
                <a:gd name="T9" fmla="*/ 90 h 223"/>
                <a:gd name="T10" fmla="*/ 6 w 220"/>
                <a:gd name="T11" fmla="*/ 94 h 223"/>
                <a:gd name="T12" fmla="*/ 6 w 220"/>
                <a:gd name="T13" fmla="*/ 94 h 223"/>
                <a:gd name="T14" fmla="*/ 5 w 220"/>
                <a:gd name="T15" fmla="*/ 97 h 223"/>
                <a:gd name="T16" fmla="*/ 35 w 220"/>
                <a:gd name="T17" fmla="*/ 193 h 223"/>
                <a:gd name="T18" fmla="*/ 71 w 220"/>
                <a:gd name="T19" fmla="*/ 216 h 223"/>
                <a:gd name="T20" fmla="*/ 84 w 220"/>
                <a:gd name="T21" fmla="*/ 220 h 223"/>
                <a:gd name="T22" fmla="*/ 87 w 220"/>
                <a:gd name="T23" fmla="*/ 221 h 223"/>
                <a:gd name="T24" fmla="*/ 102 w 220"/>
                <a:gd name="T25" fmla="*/ 222 h 223"/>
                <a:gd name="T26" fmla="*/ 145 w 220"/>
                <a:gd name="T27" fmla="*/ 216 h 223"/>
                <a:gd name="T28" fmla="*/ 169 w 220"/>
                <a:gd name="T29" fmla="*/ 204 h 223"/>
                <a:gd name="T30" fmla="*/ 170 w 220"/>
                <a:gd name="T31" fmla="*/ 202 h 223"/>
                <a:gd name="T32" fmla="*/ 170 w 220"/>
                <a:gd name="T33" fmla="*/ 202 h 223"/>
                <a:gd name="T34" fmla="*/ 170 w 220"/>
                <a:gd name="T35" fmla="*/ 201 h 223"/>
                <a:gd name="T36" fmla="*/ 170 w 220"/>
                <a:gd name="T37" fmla="*/ 200 h 223"/>
                <a:gd name="T38" fmla="*/ 170 w 220"/>
                <a:gd name="T39" fmla="*/ 199 h 223"/>
                <a:gd name="T40" fmla="*/ 168 w 220"/>
                <a:gd name="T41" fmla="*/ 191 h 223"/>
                <a:gd name="T42" fmla="*/ 164 w 220"/>
                <a:gd name="T43" fmla="*/ 186 h 223"/>
                <a:gd name="T44" fmla="*/ 159 w 220"/>
                <a:gd name="T45" fmla="*/ 182 h 223"/>
                <a:gd name="T46" fmla="*/ 157 w 220"/>
                <a:gd name="T47" fmla="*/ 181 h 223"/>
                <a:gd name="T48" fmla="*/ 157 w 220"/>
                <a:gd name="T49" fmla="*/ 181 h 223"/>
                <a:gd name="T50" fmla="*/ 156 w 220"/>
                <a:gd name="T51" fmla="*/ 181 h 223"/>
                <a:gd name="T52" fmla="*/ 154 w 220"/>
                <a:gd name="T53" fmla="*/ 180 h 223"/>
                <a:gd name="T54" fmla="*/ 135 w 220"/>
                <a:gd name="T55" fmla="*/ 191 h 223"/>
                <a:gd name="T56" fmla="*/ 104 w 220"/>
                <a:gd name="T57" fmla="*/ 195 h 223"/>
                <a:gd name="T58" fmla="*/ 94 w 220"/>
                <a:gd name="T59" fmla="*/ 194 h 223"/>
                <a:gd name="T60" fmla="*/ 89 w 220"/>
                <a:gd name="T61" fmla="*/ 193 h 223"/>
                <a:gd name="T62" fmla="*/ 54 w 220"/>
                <a:gd name="T63" fmla="*/ 173 h 223"/>
                <a:gd name="T64" fmla="*/ 32 w 220"/>
                <a:gd name="T65" fmla="*/ 106 h 223"/>
                <a:gd name="T66" fmla="*/ 32 w 220"/>
                <a:gd name="T67" fmla="*/ 104 h 223"/>
                <a:gd name="T68" fmla="*/ 32 w 220"/>
                <a:gd name="T69" fmla="*/ 103 h 223"/>
                <a:gd name="T70" fmla="*/ 33 w 220"/>
                <a:gd name="T71" fmla="*/ 101 h 223"/>
                <a:gd name="T72" fmla="*/ 36 w 220"/>
                <a:gd name="T73" fmla="*/ 90 h 223"/>
                <a:gd name="T74" fmla="*/ 136 w 220"/>
                <a:gd name="T75" fmla="*/ 45 h 223"/>
                <a:gd name="T76" fmla="*/ 184 w 220"/>
                <a:gd name="T77" fmla="*/ 138 h 223"/>
                <a:gd name="T78" fmla="*/ 184 w 220"/>
                <a:gd name="T79" fmla="*/ 138 h 223"/>
                <a:gd name="T80" fmla="*/ 211 w 220"/>
                <a:gd name="T81" fmla="*/ 143 h 223"/>
                <a:gd name="T82" fmla="*/ 182 w 220"/>
                <a:gd name="T83" fmla="*/ 4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0" h="223">
                  <a:moveTo>
                    <a:pt x="182" y="42"/>
                  </a:moveTo>
                  <a:lnTo>
                    <a:pt x="182" y="42"/>
                  </a:lnTo>
                  <a:cubicBezTo>
                    <a:pt x="172" y="33"/>
                    <a:pt x="160" y="25"/>
                    <a:pt x="146" y="20"/>
                  </a:cubicBezTo>
                  <a:cubicBezTo>
                    <a:pt x="92" y="0"/>
                    <a:pt x="31" y="26"/>
                    <a:pt x="10" y="80"/>
                  </a:cubicBezTo>
                  <a:cubicBezTo>
                    <a:pt x="9" y="84"/>
                    <a:pt x="8" y="87"/>
                    <a:pt x="7" y="90"/>
                  </a:cubicBezTo>
                  <a:cubicBezTo>
                    <a:pt x="7" y="91"/>
                    <a:pt x="6" y="93"/>
                    <a:pt x="6" y="94"/>
                  </a:cubicBezTo>
                  <a:cubicBezTo>
                    <a:pt x="6" y="94"/>
                    <a:pt x="6" y="94"/>
                    <a:pt x="6" y="94"/>
                  </a:cubicBezTo>
                  <a:cubicBezTo>
                    <a:pt x="6" y="95"/>
                    <a:pt x="6" y="96"/>
                    <a:pt x="5" y="97"/>
                  </a:cubicBezTo>
                  <a:cubicBezTo>
                    <a:pt x="0" y="131"/>
                    <a:pt x="9" y="167"/>
                    <a:pt x="35" y="193"/>
                  </a:cubicBezTo>
                  <a:cubicBezTo>
                    <a:pt x="46" y="203"/>
                    <a:pt x="58" y="211"/>
                    <a:pt x="71" y="216"/>
                  </a:cubicBezTo>
                  <a:cubicBezTo>
                    <a:pt x="75" y="217"/>
                    <a:pt x="80" y="218"/>
                    <a:pt x="84" y="220"/>
                  </a:cubicBezTo>
                  <a:cubicBezTo>
                    <a:pt x="85" y="220"/>
                    <a:pt x="86" y="220"/>
                    <a:pt x="87" y="221"/>
                  </a:cubicBezTo>
                  <a:cubicBezTo>
                    <a:pt x="92" y="222"/>
                    <a:pt x="97" y="222"/>
                    <a:pt x="102" y="222"/>
                  </a:cubicBezTo>
                  <a:cubicBezTo>
                    <a:pt x="117" y="223"/>
                    <a:pt x="132" y="221"/>
                    <a:pt x="145" y="216"/>
                  </a:cubicBezTo>
                  <a:cubicBezTo>
                    <a:pt x="154" y="213"/>
                    <a:pt x="162" y="209"/>
                    <a:pt x="169" y="204"/>
                  </a:cubicBezTo>
                  <a:cubicBezTo>
                    <a:pt x="169" y="203"/>
                    <a:pt x="169" y="202"/>
                    <a:pt x="170" y="202"/>
                  </a:cubicBezTo>
                  <a:cubicBezTo>
                    <a:pt x="170" y="202"/>
                    <a:pt x="170" y="202"/>
                    <a:pt x="170" y="202"/>
                  </a:cubicBezTo>
                  <a:cubicBezTo>
                    <a:pt x="170" y="201"/>
                    <a:pt x="170" y="201"/>
                    <a:pt x="170" y="201"/>
                  </a:cubicBezTo>
                  <a:cubicBezTo>
                    <a:pt x="170" y="201"/>
                    <a:pt x="170" y="200"/>
                    <a:pt x="170" y="200"/>
                  </a:cubicBezTo>
                  <a:cubicBezTo>
                    <a:pt x="170" y="200"/>
                    <a:pt x="170" y="199"/>
                    <a:pt x="170" y="199"/>
                  </a:cubicBezTo>
                  <a:cubicBezTo>
                    <a:pt x="170" y="196"/>
                    <a:pt x="169" y="194"/>
                    <a:pt x="168" y="191"/>
                  </a:cubicBezTo>
                  <a:cubicBezTo>
                    <a:pt x="167" y="189"/>
                    <a:pt x="166" y="187"/>
                    <a:pt x="164" y="186"/>
                  </a:cubicBezTo>
                  <a:cubicBezTo>
                    <a:pt x="163" y="184"/>
                    <a:pt x="161" y="183"/>
                    <a:pt x="159" y="182"/>
                  </a:cubicBezTo>
                  <a:cubicBezTo>
                    <a:pt x="158" y="181"/>
                    <a:pt x="158" y="181"/>
                    <a:pt x="157" y="181"/>
                  </a:cubicBezTo>
                  <a:cubicBezTo>
                    <a:pt x="157" y="181"/>
                    <a:pt x="157" y="181"/>
                    <a:pt x="157" y="181"/>
                  </a:cubicBezTo>
                  <a:cubicBezTo>
                    <a:pt x="156" y="181"/>
                    <a:pt x="156" y="181"/>
                    <a:pt x="156" y="181"/>
                  </a:cubicBezTo>
                  <a:cubicBezTo>
                    <a:pt x="155" y="181"/>
                    <a:pt x="155" y="180"/>
                    <a:pt x="154" y="180"/>
                  </a:cubicBezTo>
                  <a:cubicBezTo>
                    <a:pt x="148" y="185"/>
                    <a:pt x="142" y="188"/>
                    <a:pt x="135" y="191"/>
                  </a:cubicBezTo>
                  <a:cubicBezTo>
                    <a:pt x="125" y="194"/>
                    <a:pt x="115" y="196"/>
                    <a:pt x="104" y="195"/>
                  </a:cubicBezTo>
                  <a:cubicBezTo>
                    <a:pt x="101" y="195"/>
                    <a:pt x="98" y="194"/>
                    <a:pt x="94" y="194"/>
                  </a:cubicBezTo>
                  <a:cubicBezTo>
                    <a:pt x="93" y="194"/>
                    <a:pt x="91" y="193"/>
                    <a:pt x="89" y="193"/>
                  </a:cubicBezTo>
                  <a:cubicBezTo>
                    <a:pt x="77" y="189"/>
                    <a:pt x="65" y="183"/>
                    <a:pt x="54" y="173"/>
                  </a:cubicBezTo>
                  <a:cubicBezTo>
                    <a:pt x="36" y="155"/>
                    <a:pt x="28" y="130"/>
                    <a:pt x="32" y="106"/>
                  </a:cubicBezTo>
                  <a:cubicBezTo>
                    <a:pt x="32" y="105"/>
                    <a:pt x="32" y="105"/>
                    <a:pt x="32" y="104"/>
                  </a:cubicBezTo>
                  <a:lnTo>
                    <a:pt x="32" y="103"/>
                  </a:lnTo>
                  <a:cubicBezTo>
                    <a:pt x="32" y="103"/>
                    <a:pt x="33" y="102"/>
                    <a:pt x="33" y="101"/>
                  </a:cubicBezTo>
                  <a:cubicBezTo>
                    <a:pt x="34" y="97"/>
                    <a:pt x="35" y="94"/>
                    <a:pt x="36" y="90"/>
                  </a:cubicBezTo>
                  <a:cubicBezTo>
                    <a:pt x="51" y="50"/>
                    <a:pt x="96" y="30"/>
                    <a:pt x="136" y="45"/>
                  </a:cubicBezTo>
                  <a:cubicBezTo>
                    <a:pt x="174" y="60"/>
                    <a:pt x="194" y="100"/>
                    <a:pt x="184" y="138"/>
                  </a:cubicBezTo>
                  <a:lnTo>
                    <a:pt x="184" y="138"/>
                  </a:lnTo>
                  <a:cubicBezTo>
                    <a:pt x="193" y="138"/>
                    <a:pt x="202" y="140"/>
                    <a:pt x="211" y="143"/>
                  </a:cubicBezTo>
                  <a:cubicBezTo>
                    <a:pt x="220" y="106"/>
                    <a:pt x="208" y="68"/>
                    <a:pt x="182" y="42"/>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68">
              <a:extLst>
                <a:ext uri="{FF2B5EF4-FFF2-40B4-BE49-F238E27FC236}">
                  <a16:creationId xmlns:a16="http://schemas.microsoft.com/office/drawing/2014/main" id="{0B309E82-FA90-44D6-9DE0-8E73B15BB608}"/>
                </a:ext>
              </a:extLst>
            </p:cNvPr>
            <p:cNvSpPr>
              <a:spLocks/>
            </p:cNvSpPr>
            <p:nvPr/>
          </p:nvSpPr>
          <p:spPr bwMode="auto">
            <a:xfrm>
              <a:off x="9780588" y="4402138"/>
              <a:ext cx="28575" cy="1588"/>
            </a:xfrm>
            <a:custGeom>
              <a:avLst/>
              <a:gdLst>
                <a:gd name="T0" fmla="*/ 0 w 15"/>
                <a:gd name="T1" fmla="*/ 0 h 1"/>
                <a:gd name="T2" fmla="*/ 0 w 15"/>
                <a:gd name="T3" fmla="*/ 0 h 1"/>
                <a:gd name="T4" fmla="*/ 15 w 15"/>
                <a:gd name="T5" fmla="*/ 1 h 1"/>
                <a:gd name="T6" fmla="*/ 0 w 15"/>
                <a:gd name="T7" fmla="*/ 0 h 1"/>
              </a:gdLst>
              <a:ahLst/>
              <a:cxnLst>
                <a:cxn ang="0">
                  <a:pos x="T0" y="T1"/>
                </a:cxn>
                <a:cxn ang="0">
                  <a:pos x="T2" y="T3"/>
                </a:cxn>
                <a:cxn ang="0">
                  <a:pos x="T4" y="T5"/>
                </a:cxn>
                <a:cxn ang="0">
                  <a:pos x="T6" y="T7"/>
                </a:cxn>
              </a:cxnLst>
              <a:rect l="0" t="0" r="r" b="b"/>
              <a:pathLst>
                <a:path w="15" h="1">
                  <a:moveTo>
                    <a:pt x="0" y="0"/>
                  </a:moveTo>
                  <a:lnTo>
                    <a:pt x="0" y="0"/>
                  </a:lnTo>
                  <a:cubicBezTo>
                    <a:pt x="5" y="1"/>
                    <a:pt x="10" y="1"/>
                    <a:pt x="15" y="1"/>
                  </a:cubicBezTo>
                  <a:cubicBezTo>
                    <a:pt x="10" y="1"/>
                    <a:pt x="5" y="1"/>
                    <a:pt x="0"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69">
              <a:extLst>
                <a:ext uri="{FF2B5EF4-FFF2-40B4-BE49-F238E27FC236}">
                  <a16:creationId xmlns:a16="http://schemas.microsoft.com/office/drawing/2014/main" id="{9DAF017D-A4C9-4E14-9D0F-93748A4076E1}"/>
                </a:ext>
              </a:extLst>
            </p:cNvPr>
            <p:cNvSpPr>
              <a:spLocks/>
            </p:cNvSpPr>
            <p:nvPr/>
          </p:nvSpPr>
          <p:spPr bwMode="auto">
            <a:xfrm>
              <a:off x="9931401" y="4367213"/>
              <a:ext cx="1588" cy="3175"/>
            </a:xfrm>
            <a:custGeom>
              <a:avLst/>
              <a:gdLst>
                <a:gd name="T0" fmla="*/ 1 w 1"/>
                <a:gd name="T1" fmla="*/ 0 h 2"/>
                <a:gd name="T2" fmla="*/ 1 w 1"/>
                <a:gd name="T3" fmla="*/ 0 h 2"/>
                <a:gd name="T4" fmla="*/ 0 w 1"/>
                <a:gd name="T5" fmla="*/ 2 h 2"/>
                <a:gd name="T6" fmla="*/ 0 w 1"/>
                <a:gd name="T7" fmla="*/ 2 h 2"/>
                <a:gd name="T8" fmla="*/ 1 w 1"/>
                <a:gd name="T9" fmla="*/ 0 h 2"/>
              </a:gdLst>
              <a:ahLst/>
              <a:cxnLst>
                <a:cxn ang="0">
                  <a:pos x="T0" y="T1"/>
                </a:cxn>
                <a:cxn ang="0">
                  <a:pos x="T2" y="T3"/>
                </a:cxn>
                <a:cxn ang="0">
                  <a:pos x="T4" y="T5"/>
                </a:cxn>
                <a:cxn ang="0">
                  <a:pos x="T6" y="T7"/>
                </a:cxn>
                <a:cxn ang="0">
                  <a:pos x="T8" y="T9"/>
                </a:cxn>
              </a:cxnLst>
              <a:rect l="0" t="0" r="r" b="b"/>
              <a:pathLst>
                <a:path w="1" h="2">
                  <a:moveTo>
                    <a:pt x="1" y="0"/>
                  </a:moveTo>
                  <a:lnTo>
                    <a:pt x="1" y="0"/>
                  </a:lnTo>
                  <a:cubicBezTo>
                    <a:pt x="0" y="0"/>
                    <a:pt x="0" y="1"/>
                    <a:pt x="0" y="2"/>
                  </a:cubicBezTo>
                  <a:cubicBezTo>
                    <a:pt x="0" y="2"/>
                    <a:pt x="0" y="2"/>
                    <a:pt x="0" y="2"/>
                  </a:cubicBezTo>
                  <a:cubicBezTo>
                    <a:pt x="0" y="1"/>
                    <a:pt x="0" y="0"/>
                    <a:pt x="1" y="0"/>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1" name="Group 260">
            <a:extLst>
              <a:ext uri="{FF2B5EF4-FFF2-40B4-BE49-F238E27FC236}">
                <a16:creationId xmlns:a16="http://schemas.microsoft.com/office/drawing/2014/main" id="{38F4D738-7D93-49AF-A263-D1827A431557}"/>
              </a:ext>
            </a:extLst>
          </p:cNvPr>
          <p:cNvGrpSpPr/>
          <p:nvPr/>
        </p:nvGrpSpPr>
        <p:grpSpPr>
          <a:xfrm>
            <a:off x="5745975" y="4999938"/>
            <a:ext cx="628649" cy="627062"/>
            <a:chOff x="9840913" y="6408738"/>
            <a:chExt cx="628649" cy="627062"/>
          </a:xfrm>
        </p:grpSpPr>
        <p:sp>
          <p:nvSpPr>
            <p:cNvPr id="257" name="Freeform 74">
              <a:extLst>
                <a:ext uri="{FF2B5EF4-FFF2-40B4-BE49-F238E27FC236}">
                  <a16:creationId xmlns:a16="http://schemas.microsoft.com/office/drawing/2014/main" id="{03E0124C-9D1C-4843-8E8F-B57F7C230A3D}"/>
                </a:ext>
              </a:extLst>
            </p:cNvPr>
            <p:cNvSpPr>
              <a:spLocks noEditPoints="1"/>
            </p:cNvSpPr>
            <p:nvPr/>
          </p:nvSpPr>
          <p:spPr bwMode="auto">
            <a:xfrm>
              <a:off x="9840913" y="6408738"/>
              <a:ext cx="628649" cy="627062"/>
            </a:xfrm>
            <a:custGeom>
              <a:avLst/>
              <a:gdLst>
                <a:gd name="T0" fmla="*/ 142 w 426"/>
                <a:gd name="T1" fmla="*/ 0 h 425"/>
                <a:gd name="T2" fmla="*/ 142 w 426"/>
                <a:gd name="T3" fmla="*/ 0 h 425"/>
                <a:gd name="T4" fmla="*/ 142 w 426"/>
                <a:gd name="T5" fmla="*/ 141 h 425"/>
                <a:gd name="T6" fmla="*/ 199 w 426"/>
                <a:gd name="T7" fmla="*/ 141 h 425"/>
                <a:gd name="T8" fmla="*/ 199 w 426"/>
                <a:gd name="T9" fmla="*/ 198 h 425"/>
                <a:gd name="T10" fmla="*/ 56 w 426"/>
                <a:gd name="T11" fmla="*/ 198 h 425"/>
                <a:gd name="T12" fmla="*/ 56 w 426"/>
                <a:gd name="T13" fmla="*/ 283 h 425"/>
                <a:gd name="T14" fmla="*/ 0 w 426"/>
                <a:gd name="T15" fmla="*/ 283 h 425"/>
                <a:gd name="T16" fmla="*/ 0 w 426"/>
                <a:gd name="T17" fmla="*/ 425 h 425"/>
                <a:gd name="T18" fmla="*/ 142 w 426"/>
                <a:gd name="T19" fmla="*/ 425 h 425"/>
                <a:gd name="T20" fmla="*/ 142 w 426"/>
                <a:gd name="T21" fmla="*/ 283 h 425"/>
                <a:gd name="T22" fmla="*/ 85 w 426"/>
                <a:gd name="T23" fmla="*/ 283 h 425"/>
                <a:gd name="T24" fmla="*/ 85 w 426"/>
                <a:gd name="T25" fmla="*/ 226 h 425"/>
                <a:gd name="T26" fmla="*/ 341 w 426"/>
                <a:gd name="T27" fmla="*/ 226 h 425"/>
                <a:gd name="T28" fmla="*/ 341 w 426"/>
                <a:gd name="T29" fmla="*/ 283 h 425"/>
                <a:gd name="T30" fmla="*/ 284 w 426"/>
                <a:gd name="T31" fmla="*/ 283 h 425"/>
                <a:gd name="T32" fmla="*/ 284 w 426"/>
                <a:gd name="T33" fmla="*/ 425 h 425"/>
                <a:gd name="T34" fmla="*/ 426 w 426"/>
                <a:gd name="T35" fmla="*/ 425 h 425"/>
                <a:gd name="T36" fmla="*/ 426 w 426"/>
                <a:gd name="T37" fmla="*/ 283 h 425"/>
                <a:gd name="T38" fmla="*/ 369 w 426"/>
                <a:gd name="T39" fmla="*/ 283 h 425"/>
                <a:gd name="T40" fmla="*/ 369 w 426"/>
                <a:gd name="T41" fmla="*/ 198 h 425"/>
                <a:gd name="T42" fmla="*/ 227 w 426"/>
                <a:gd name="T43" fmla="*/ 198 h 425"/>
                <a:gd name="T44" fmla="*/ 227 w 426"/>
                <a:gd name="T45" fmla="*/ 141 h 425"/>
                <a:gd name="T46" fmla="*/ 284 w 426"/>
                <a:gd name="T47" fmla="*/ 141 h 425"/>
                <a:gd name="T48" fmla="*/ 284 w 426"/>
                <a:gd name="T49" fmla="*/ 0 h 425"/>
                <a:gd name="T50" fmla="*/ 142 w 426"/>
                <a:gd name="T51" fmla="*/ 0 h 425"/>
                <a:gd name="T52" fmla="*/ 170 w 426"/>
                <a:gd name="T53" fmla="*/ 27 h 425"/>
                <a:gd name="T54" fmla="*/ 170 w 426"/>
                <a:gd name="T55" fmla="*/ 27 h 425"/>
                <a:gd name="T56" fmla="*/ 256 w 426"/>
                <a:gd name="T57" fmla="*/ 27 h 425"/>
                <a:gd name="T58" fmla="*/ 256 w 426"/>
                <a:gd name="T59" fmla="*/ 113 h 425"/>
                <a:gd name="T60" fmla="*/ 170 w 426"/>
                <a:gd name="T61" fmla="*/ 113 h 425"/>
                <a:gd name="T62" fmla="*/ 170 w 426"/>
                <a:gd name="T63" fmla="*/ 27 h 425"/>
                <a:gd name="T64" fmla="*/ 312 w 426"/>
                <a:gd name="T65" fmla="*/ 312 h 425"/>
                <a:gd name="T66" fmla="*/ 312 w 426"/>
                <a:gd name="T67" fmla="*/ 312 h 425"/>
                <a:gd name="T68" fmla="*/ 398 w 426"/>
                <a:gd name="T69" fmla="*/ 312 h 425"/>
                <a:gd name="T70" fmla="*/ 398 w 426"/>
                <a:gd name="T71" fmla="*/ 397 h 425"/>
                <a:gd name="T72" fmla="*/ 312 w 426"/>
                <a:gd name="T73" fmla="*/ 397 h 425"/>
                <a:gd name="T74" fmla="*/ 312 w 426"/>
                <a:gd name="T75" fmla="*/ 312 h 425"/>
                <a:gd name="T76" fmla="*/ 28 w 426"/>
                <a:gd name="T77" fmla="*/ 312 h 425"/>
                <a:gd name="T78" fmla="*/ 28 w 426"/>
                <a:gd name="T79" fmla="*/ 312 h 425"/>
                <a:gd name="T80" fmla="*/ 113 w 426"/>
                <a:gd name="T81" fmla="*/ 312 h 425"/>
                <a:gd name="T82" fmla="*/ 113 w 426"/>
                <a:gd name="T83" fmla="*/ 397 h 425"/>
                <a:gd name="T84" fmla="*/ 28 w 426"/>
                <a:gd name="T85" fmla="*/ 397 h 425"/>
                <a:gd name="T86" fmla="*/ 28 w 426"/>
                <a:gd name="T87" fmla="*/ 312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6" h="425">
                  <a:moveTo>
                    <a:pt x="142" y="0"/>
                  </a:moveTo>
                  <a:lnTo>
                    <a:pt x="142" y="0"/>
                  </a:lnTo>
                  <a:lnTo>
                    <a:pt x="142" y="141"/>
                  </a:lnTo>
                  <a:lnTo>
                    <a:pt x="199" y="141"/>
                  </a:lnTo>
                  <a:lnTo>
                    <a:pt x="199" y="198"/>
                  </a:lnTo>
                  <a:lnTo>
                    <a:pt x="56" y="198"/>
                  </a:lnTo>
                  <a:lnTo>
                    <a:pt x="56" y="283"/>
                  </a:lnTo>
                  <a:lnTo>
                    <a:pt x="0" y="283"/>
                  </a:lnTo>
                  <a:lnTo>
                    <a:pt x="0" y="425"/>
                  </a:lnTo>
                  <a:lnTo>
                    <a:pt x="142" y="425"/>
                  </a:lnTo>
                  <a:lnTo>
                    <a:pt x="142" y="283"/>
                  </a:lnTo>
                  <a:lnTo>
                    <a:pt x="85" y="283"/>
                  </a:lnTo>
                  <a:lnTo>
                    <a:pt x="85" y="226"/>
                  </a:lnTo>
                  <a:lnTo>
                    <a:pt x="341" y="226"/>
                  </a:lnTo>
                  <a:lnTo>
                    <a:pt x="341" y="283"/>
                  </a:lnTo>
                  <a:lnTo>
                    <a:pt x="284" y="283"/>
                  </a:lnTo>
                  <a:lnTo>
                    <a:pt x="284" y="425"/>
                  </a:lnTo>
                  <a:lnTo>
                    <a:pt x="426" y="425"/>
                  </a:lnTo>
                  <a:lnTo>
                    <a:pt x="426" y="283"/>
                  </a:lnTo>
                  <a:lnTo>
                    <a:pt x="369" y="283"/>
                  </a:lnTo>
                  <a:lnTo>
                    <a:pt x="369" y="198"/>
                  </a:lnTo>
                  <a:lnTo>
                    <a:pt x="227" y="198"/>
                  </a:lnTo>
                  <a:lnTo>
                    <a:pt x="227" y="141"/>
                  </a:lnTo>
                  <a:lnTo>
                    <a:pt x="284" y="141"/>
                  </a:lnTo>
                  <a:lnTo>
                    <a:pt x="284" y="0"/>
                  </a:lnTo>
                  <a:lnTo>
                    <a:pt x="142" y="0"/>
                  </a:lnTo>
                  <a:close/>
                  <a:moveTo>
                    <a:pt x="170" y="27"/>
                  </a:moveTo>
                  <a:lnTo>
                    <a:pt x="170" y="27"/>
                  </a:lnTo>
                  <a:lnTo>
                    <a:pt x="256" y="27"/>
                  </a:lnTo>
                  <a:lnTo>
                    <a:pt x="256" y="113"/>
                  </a:lnTo>
                  <a:lnTo>
                    <a:pt x="170" y="113"/>
                  </a:lnTo>
                  <a:lnTo>
                    <a:pt x="170" y="27"/>
                  </a:lnTo>
                  <a:close/>
                  <a:moveTo>
                    <a:pt x="312" y="312"/>
                  </a:moveTo>
                  <a:lnTo>
                    <a:pt x="312" y="312"/>
                  </a:lnTo>
                  <a:lnTo>
                    <a:pt x="398" y="312"/>
                  </a:lnTo>
                  <a:lnTo>
                    <a:pt x="398" y="397"/>
                  </a:lnTo>
                  <a:lnTo>
                    <a:pt x="312" y="397"/>
                  </a:lnTo>
                  <a:lnTo>
                    <a:pt x="312" y="312"/>
                  </a:lnTo>
                  <a:close/>
                  <a:moveTo>
                    <a:pt x="28" y="312"/>
                  </a:moveTo>
                  <a:lnTo>
                    <a:pt x="28" y="312"/>
                  </a:lnTo>
                  <a:lnTo>
                    <a:pt x="113" y="312"/>
                  </a:lnTo>
                  <a:lnTo>
                    <a:pt x="113" y="397"/>
                  </a:lnTo>
                  <a:lnTo>
                    <a:pt x="28" y="397"/>
                  </a:lnTo>
                  <a:lnTo>
                    <a:pt x="28" y="312"/>
                  </a:ln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8" name="Freeform 75">
              <a:extLst>
                <a:ext uri="{FF2B5EF4-FFF2-40B4-BE49-F238E27FC236}">
                  <a16:creationId xmlns:a16="http://schemas.microsoft.com/office/drawing/2014/main" id="{9E322F37-1569-4045-8BEF-48810290407A}"/>
                </a:ext>
              </a:extLst>
            </p:cNvPr>
            <p:cNvSpPr>
              <a:spLocks/>
            </p:cNvSpPr>
            <p:nvPr/>
          </p:nvSpPr>
          <p:spPr bwMode="auto">
            <a:xfrm>
              <a:off x="9882188" y="6869113"/>
              <a:ext cx="125412" cy="125412"/>
            </a:xfrm>
            <a:custGeom>
              <a:avLst/>
              <a:gdLst>
                <a:gd name="T0" fmla="*/ 0 w 85"/>
                <a:gd name="T1" fmla="*/ 85 h 85"/>
                <a:gd name="T2" fmla="*/ 0 w 85"/>
                <a:gd name="T3" fmla="*/ 85 h 85"/>
                <a:gd name="T4" fmla="*/ 85 w 85"/>
                <a:gd name="T5" fmla="*/ 85 h 85"/>
                <a:gd name="T6" fmla="*/ 85 w 85"/>
                <a:gd name="T7" fmla="*/ 0 h 85"/>
                <a:gd name="T8" fmla="*/ 0 w 85"/>
                <a:gd name="T9" fmla="*/ 0 h 85"/>
                <a:gd name="T10" fmla="*/ 0 w 85"/>
                <a:gd name="T11" fmla="*/ 85 h 85"/>
              </a:gdLst>
              <a:ahLst/>
              <a:cxnLst>
                <a:cxn ang="0">
                  <a:pos x="T0" y="T1"/>
                </a:cxn>
                <a:cxn ang="0">
                  <a:pos x="T2" y="T3"/>
                </a:cxn>
                <a:cxn ang="0">
                  <a:pos x="T4" y="T5"/>
                </a:cxn>
                <a:cxn ang="0">
                  <a:pos x="T6" y="T7"/>
                </a:cxn>
                <a:cxn ang="0">
                  <a:pos x="T8" y="T9"/>
                </a:cxn>
                <a:cxn ang="0">
                  <a:pos x="T10" y="T11"/>
                </a:cxn>
              </a:cxnLst>
              <a:rect l="0" t="0" r="r" b="b"/>
              <a:pathLst>
                <a:path w="85" h="85">
                  <a:moveTo>
                    <a:pt x="0" y="85"/>
                  </a:moveTo>
                  <a:lnTo>
                    <a:pt x="0" y="85"/>
                  </a:lnTo>
                  <a:lnTo>
                    <a:pt x="85" y="85"/>
                  </a:lnTo>
                  <a:lnTo>
                    <a:pt x="85" y="0"/>
                  </a:lnTo>
                  <a:lnTo>
                    <a:pt x="0" y="0"/>
                  </a:lnTo>
                  <a:lnTo>
                    <a:pt x="0" y="85"/>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9" name="Freeform 76">
              <a:extLst>
                <a:ext uri="{FF2B5EF4-FFF2-40B4-BE49-F238E27FC236}">
                  <a16:creationId xmlns:a16="http://schemas.microsoft.com/office/drawing/2014/main" id="{13CC407A-1727-439E-9A94-F54F9CC0B651}"/>
                </a:ext>
              </a:extLst>
            </p:cNvPr>
            <p:cNvSpPr>
              <a:spLocks/>
            </p:cNvSpPr>
            <p:nvPr/>
          </p:nvSpPr>
          <p:spPr bwMode="auto">
            <a:xfrm>
              <a:off x="10301288" y="6869113"/>
              <a:ext cx="127000" cy="125412"/>
            </a:xfrm>
            <a:custGeom>
              <a:avLst/>
              <a:gdLst>
                <a:gd name="T0" fmla="*/ 0 w 86"/>
                <a:gd name="T1" fmla="*/ 85 h 85"/>
                <a:gd name="T2" fmla="*/ 0 w 86"/>
                <a:gd name="T3" fmla="*/ 85 h 85"/>
                <a:gd name="T4" fmla="*/ 86 w 86"/>
                <a:gd name="T5" fmla="*/ 85 h 85"/>
                <a:gd name="T6" fmla="*/ 86 w 86"/>
                <a:gd name="T7" fmla="*/ 0 h 85"/>
                <a:gd name="T8" fmla="*/ 0 w 86"/>
                <a:gd name="T9" fmla="*/ 0 h 85"/>
                <a:gd name="T10" fmla="*/ 0 w 86"/>
                <a:gd name="T11" fmla="*/ 85 h 85"/>
              </a:gdLst>
              <a:ahLst/>
              <a:cxnLst>
                <a:cxn ang="0">
                  <a:pos x="T0" y="T1"/>
                </a:cxn>
                <a:cxn ang="0">
                  <a:pos x="T2" y="T3"/>
                </a:cxn>
                <a:cxn ang="0">
                  <a:pos x="T4" y="T5"/>
                </a:cxn>
                <a:cxn ang="0">
                  <a:pos x="T6" y="T7"/>
                </a:cxn>
                <a:cxn ang="0">
                  <a:pos x="T8" y="T9"/>
                </a:cxn>
                <a:cxn ang="0">
                  <a:pos x="T10" y="T11"/>
                </a:cxn>
              </a:cxnLst>
              <a:rect l="0" t="0" r="r" b="b"/>
              <a:pathLst>
                <a:path w="86" h="85">
                  <a:moveTo>
                    <a:pt x="0" y="85"/>
                  </a:moveTo>
                  <a:lnTo>
                    <a:pt x="0" y="85"/>
                  </a:lnTo>
                  <a:lnTo>
                    <a:pt x="86" y="85"/>
                  </a:lnTo>
                  <a:lnTo>
                    <a:pt x="86" y="0"/>
                  </a:lnTo>
                  <a:lnTo>
                    <a:pt x="0" y="0"/>
                  </a:lnTo>
                  <a:lnTo>
                    <a:pt x="0" y="85"/>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0" name="Freeform 77">
              <a:extLst>
                <a:ext uri="{FF2B5EF4-FFF2-40B4-BE49-F238E27FC236}">
                  <a16:creationId xmlns:a16="http://schemas.microsoft.com/office/drawing/2014/main" id="{BC3D33E2-A9FD-4E72-ADEA-CD24455DAD2C}"/>
                </a:ext>
              </a:extLst>
            </p:cNvPr>
            <p:cNvSpPr>
              <a:spLocks/>
            </p:cNvSpPr>
            <p:nvPr/>
          </p:nvSpPr>
          <p:spPr bwMode="auto">
            <a:xfrm>
              <a:off x="10091738" y="6448425"/>
              <a:ext cx="125412" cy="127000"/>
            </a:xfrm>
            <a:custGeom>
              <a:avLst/>
              <a:gdLst>
                <a:gd name="T0" fmla="*/ 85 w 85"/>
                <a:gd name="T1" fmla="*/ 0 h 86"/>
                <a:gd name="T2" fmla="*/ 85 w 85"/>
                <a:gd name="T3" fmla="*/ 0 h 86"/>
                <a:gd name="T4" fmla="*/ 0 w 85"/>
                <a:gd name="T5" fmla="*/ 0 h 86"/>
                <a:gd name="T6" fmla="*/ 0 w 85"/>
                <a:gd name="T7" fmla="*/ 86 h 86"/>
                <a:gd name="T8" fmla="*/ 85 w 85"/>
                <a:gd name="T9" fmla="*/ 86 h 86"/>
                <a:gd name="T10" fmla="*/ 85 w 85"/>
                <a:gd name="T11" fmla="*/ 0 h 86"/>
              </a:gdLst>
              <a:ahLst/>
              <a:cxnLst>
                <a:cxn ang="0">
                  <a:pos x="T0" y="T1"/>
                </a:cxn>
                <a:cxn ang="0">
                  <a:pos x="T2" y="T3"/>
                </a:cxn>
                <a:cxn ang="0">
                  <a:pos x="T4" y="T5"/>
                </a:cxn>
                <a:cxn ang="0">
                  <a:pos x="T6" y="T7"/>
                </a:cxn>
                <a:cxn ang="0">
                  <a:pos x="T8" y="T9"/>
                </a:cxn>
                <a:cxn ang="0">
                  <a:pos x="T10" y="T11"/>
                </a:cxn>
              </a:cxnLst>
              <a:rect l="0" t="0" r="r" b="b"/>
              <a:pathLst>
                <a:path w="85" h="86">
                  <a:moveTo>
                    <a:pt x="85" y="0"/>
                  </a:moveTo>
                  <a:lnTo>
                    <a:pt x="85" y="0"/>
                  </a:lnTo>
                  <a:lnTo>
                    <a:pt x="0" y="0"/>
                  </a:lnTo>
                  <a:lnTo>
                    <a:pt x="0" y="86"/>
                  </a:lnTo>
                  <a:lnTo>
                    <a:pt x="85" y="86"/>
                  </a:lnTo>
                  <a:lnTo>
                    <a:pt x="85" y="0"/>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68" name="Group 267">
            <a:extLst>
              <a:ext uri="{FF2B5EF4-FFF2-40B4-BE49-F238E27FC236}">
                <a16:creationId xmlns:a16="http://schemas.microsoft.com/office/drawing/2014/main" id="{8668F9D0-45B5-46CE-97D1-736F309BDDDB}"/>
              </a:ext>
            </a:extLst>
          </p:cNvPr>
          <p:cNvGrpSpPr/>
          <p:nvPr/>
        </p:nvGrpSpPr>
        <p:grpSpPr>
          <a:xfrm>
            <a:off x="5352956" y="6730508"/>
            <a:ext cx="623888" cy="547100"/>
            <a:chOff x="8253413" y="7545388"/>
            <a:chExt cx="722313" cy="633412"/>
          </a:xfrm>
        </p:grpSpPr>
        <p:sp>
          <p:nvSpPr>
            <p:cNvPr id="264" name="Freeform 81">
              <a:extLst>
                <a:ext uri="{FF2B5EF4-FFF2-40B4-BE49-F238E27FC236}">
                  <a16:creationId xmlns:a16="http://schemas.microsoft.com/office/drawing/2014/main" id="{22F89333-5FCA-4DE3-95A8-0DDC463A64BF}"/>
                </a:ext>
              </a:extLst>
            </p:cNvPr>
            <p:cNvSpPr>
              <a:spLocks/>
            </p:cNvSpPr>
            <p:nvPr/>
          </p:nvSpPr>
          <p:spPr bwMode="auto">
            <a:xfrm>
              <a:off x="8253413" y="7545388"/>
              <a:ext cx="673100" cy="439737"/>
            </a:xfrm>
            <a:custGeom>
              <a:avLst/>
              <a:gdLst>
                <a:gd name="T0" fmla="*/ 238 w 367"/>
                <a:gd name="T1" fmla="*/ 219 h 240"/>
                <a:gd name="T2" fmla="*/ 238 w 367"/>
                <a:gd name="T3" fmla="*/ 219 h 240"/>
                <a:gd name="T4" fmla="*/ 232 w 367"/>
                <a:gd name="T5" fmla="*/ 187 h 240"/>
                <a:gd name="T6" fmla="*/ 238 w 367"/>
                <a:gd name="T7" fmla="*/ 155 h 240"/>
                <a:gd name="T8" fmla="*/ 256 w 367"/>
                <a:gd name="T9" fmla="*/ 130 h 240"/>
                <a:gd name="T10" fmla="*/ 281 w 367"/>
                <a:gd name="T11" fmla="*/ 113 h 240"/>
                <a:gd name="T12" fmla="*/ 313 w 367"/>
                <a:gd name="T13" fmla="*/ 106 h 240"/>
                <a:gd name="T14" fmla="*/ 344 w 367"/>
                <a:gd name="T15" fmla="*/ 113 h 240"/>
                <a:gd name="T16" fmla="*/ 367 w 367"/>
                <a:gd name="T17" fmla="*/ 127 h 240"/>
                <a:gd name="T18" fmla="*/ 367 w 367"/>
                <a:gd name="T19" fmla="*/ 0 h 240"/>
                <a:gd name="T20" fmla="*/ 316 w 367"/>
                <a:gd name="T21" fmla="*/ 0 h 240"/>
                <a:gd name="T22" fmla="*/ 186 w 367"/>
                <a:gd name="T23" fmla="*/ 130 h 240"/>
                <a:gd name="T24" fmla="*/ 140 w 367"/>
                <a:gd name="T25" fmla="*/ 104 h 240"/>
                <a:gd name="T26" fmla="*/ 75 w 367"/>
                <a:gd name="T27" fmla="*/ 176 h 240"/>
                <a:gd name="T28" fmla="*/ 0 w 367"/>
                <a:gd name="T29" fmla="*/ 176 h 240"/>
                <a:gd name="T30" fmla="*/ 0 w 367"/>
                <a:gd name="T31" fmla="*/ 240 h 240"/>
                <a:gd name="T32" fmla="*/ 252 w 367"/>
                <a:gd name="T33" fmla="*/ 240 h 240"/>
                <a:gd name="T34" fmla="*/ 238 w 367"/>
                <a:gd name="T35" fmla="*/ 21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7" h="240">
                  <a:moveTo>
                    <a:pt x="238" y="219"/>
                  </a:moveTo>
                  <a:lnTo>
                    <a:pt x="238" y="219"/>
                  </a:lnTo>
                  <a:cubicBezTo>
                    <a:pt x="234" y="209"/>
                    <a:pt x="232" y="198"/>
                    <a:pt x="232" y="187"/>
                  </a:cubicBezTo>
                  <a:cubicBezTo>
                    <a:pt x="232" y="176"/>
                    <a:pt x="234" y="165"/>
                    <a:pt x="238" y="155"/>
                  </a:cubicBezTo>
                  <a:cubicBezTo>
                    <a:pt x="243" y="146"/>
                    <a:pt x="248" y="137"/>
                    <a:pt x="256" y="130"/>
                  </a:cubicBezTo>
                  <a:cubicBezTo>
                    <a:pt x="263" y="123"/>
                    <a:pt x="271" y="117"/>
                    <a:pt x="281" y="113"/>
                  </a:cubicBezTo>
                  <a:cubicBezTo>
                    <a:pt x="291" y="108"/>
                    <a:pt x="301" y="106"/>
                    <a:pt x="313" y="106"/>
                  </a:cubicBezTo>
                  <a:cubicBezTo>
                    <a:pt x="324" y="106"/>
                    <a:pt x="334" y="108"/>
                    <a:pt x="344" y="113"/>
                  </a:cubicBezTo>
                  <a:cubicBezTo>
                    <a:pt x="353" y="116"/>
                    <a:pt x="360" y="121"/>
                    <a:pt x="367" y="127"/>
                  </a:cubicBezTo>
                  <a:lnTo>
                    <a:pt x="367" y="0"/>
                  </a:lnTo>
                  <a:lnTo>
                    <a:pt x="316" y="0"/>
                  </a:lnTo>
                  <a:lnTo>
                    <a:pt x="186" y="130"/>
                  </a:lnTo>
                  <a:lnTo>
                    <a:pt x="140" y="104"/>
                  </a:lnTo>
                  <a:lnTo>
                    <a:pt x="75" y="176"/>
                  </a:lnTo>
                  <a:lnTo>
                    <a:pt x="0" y="176"/>
                  </a:lnTo>
                  <a:lnTo>
                    <a:pt x="0" y="240"/>
                  </a:lnTo>
                  <a:lnTo>
                    <a:pt x="252" y="240"/>
                  </a:lnTo>
                  <a:cubicBezTo>
                    <a:pt x="247" y="233"/>
                    <a:pt x="242" y="226"/>
                    <a:pt x="238" y="219"/>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5" name="Freeform 82">
              <a:extLst>
                <a:ext uri="{FF2B5EF4-FFF2-40B4-BE49-F238E27FC236}">
                  <a16:creationId xmlns:a16="http://schemas.microsoft.com/office/drawing/2014/main" id="{4DE47A8B-EBD6-45BD-8335-0F58B0F75B6E}"/>
                </a:ext>
              </a:extLst>
            </p:cNvPr>
            <p:cNvSpPr>
              <a:spLocks/>
            </p:cNvSpPr>
            <p:nvPr/>
          </p:nvSpPr>
          <p:spPr bwMode="auto">
            <a:xfrm>
              <a:off x="8253413" y="7545388"/>
              <a:ext cx="511175" cy="274637"/>
            </a:xfrm>
            <a:custGeom>
              <a:avLst/>
              <a:gdLst>
                <a:gd name="T0" fmla="*/ 135 w 279"/>
                <a:gd name="T1" fmla="*/ 69 h 150"/>
                <a:gd name="T2" fmla="*/ 135 w 279"/>
                <a:gd name="T3" fmla="*/ 69 h 150"/>
                <a:gd name="T4" fmla="*/ 181 w 279"/>
                <a:gd name="T5" fmla="*/ 97 h 150"/>
                <a:gd name="T6" fmla="*/ 279 w 279"/>
                <a:gd name="T7" fmla="*/ 0 h 150"/>
                <a:gd name="T8" fmla="*/ 0 w 279"/>
                <a:gd name="T9" fmla="*/ 0 h 150"/>
                <a:gd name="T10" fmla="*/ 0 w 279"/>
                <a:gd name="T11" fmla="*/ 150 h 150"/>
                <a:gd name="T12" fmla="*/ 63 w 279"/>
                <a:gd name="T13" fmla="*/ 150 h 150"/>
                <a:gd name="T14" fmla="*/ 135 w 279"/>
                <a:gd name="T15" fmla="*/ 69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9" h="150">
                  <a:moveTo>
                    <a:pt x="135" y="69"/>
                  </a:moveTo>
                  <a:lnTo>
                    <a:pt x="135" y="69"/>
                  </a:lnTo>
                  <a:lnTo>
                    <a:pt x="181" y="97"/>
                  </a:lnTo>
                  <a:lnTo>
                    <a:pt x="279" y="0"/>
                  </a:lnTo>
                  <a:lnTo>
                    <a:pt x="0" y="0"/>
                  </a:lnTo>
                  <a:lnTo>
                    <a:pt x="0" y="150"/>
                  </a:lnTo>
                  <a:lnTo>
                    <a:pt x="63" y="150"/>
                  </a:lnTo>
                  <a:lnTo>
                    <a:pt x="135" y="69"/>
                  </a:ln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6" name="Freeform 83">
              <a:extLst>
                <a:ext uri="{FF2B5EF4-FFF2-40B4-BE49-F238E27FC236}">
                  <a16:creationId xmlns:a16="http://schemas.microsoft.com/office/drawing/2014/main" id="{A8CA1D3E-92E4-4FCC-BEBD-EB7A0287CB3A}"/>
                </a:ext>
              </a:extLst>
            </p:cNvPr>
            <p:cNvSpPr>
              <a:spLocks/>
            </p:cNvSpPr>
            <p:nvPr/>
          </p:nvSpPr>
          <p:spPr bwMode="auto">
            <a:xfrm>
              <a:off x="8726488" y="7789863"/>
              <a:ext cx="200025" cy="195262"/>
            </a:xfrm>
            <a:custGeom>
              <a:avLst/>
              <a:gdLst>
                <a:gd name="T0" fmla="*/ 34 w 109"/>
                <a:gd name="T1" fmla="*/ 104 h 107"/>
                <a:gd name="T2" fmla="*/ 34 w 109"/>
                <a:gd name="T3" fmla="*/ 104 h 107"/>
                <a:gd name="T4" fmla="*/ 42 w 109"/>
                <a:gd name="T5" fmla="*/ 107 h 107"/>
                <a:gd name="T6" fmla="*/ 67 w 109"/>
                <a:gd name="T7" fmla="*/ 107 h 107"/>
                <a:gd name="T8" fmla="*/ 76 w 109"/>
                <a:gd name="T9" fmla="*/ 104 h 107"/>
                <a:gd name="T10" fmla="*/ 93 w 109"/>
                <a:gd name="T11" fmla="*/ 92 h 107"/>
                <a:gd name="T12" fmla="*/ 104 w 109"/>
                <a:gd name="T13" fmla="*/ 75 h 107"/>
                <a:gd name="T14" fmla="*/ 109 w 109"/>
                <a:gd name="T15" fmla="*/ 54 h 107"/>
                <a:gd name="T16" fmla="*/ 104 w 109"/>
                <a:gd name="T17" fmla="*/ 33 h 107"/>
                <a:gd name="T18" fmla="*/ 93 w 109"/>
                <a:gd name="T19" fmla="*/ 16 h 107"/>
                <a:gd name="T20" fmla="*/ 76 w 109"/>
                <a:gd name="T21" fmla="*/ 4 h 107"/>
                <a:gd name="T22" fmla="*/ 55 w 109"/>
                <a:gd name="T23" fmla="*/ 0 h 107"/>
                <a:gd name="T24" fmla="*/ 34 w 109"/>
                <a:gd name="T25" fmla="*/ 4 h 107"/>
                <a:gd name="T26" fmla="*/ 16 w 109"/>
                <a:gd name="T27" fmla="*/ 16 h 107"/>
                <a:gd name="T28" fmla="*/ 5 w 109"/>
                <a:gd name="T29" fmla="*/ 33 h 107"/>
                <a:gd name="T30" fmla="*/ 0 w 109"/>
                <a:gd name="T31" fmla="*/ 54 h 107"/>
                <a:gd name="T32" fmla="*/ 5 w 109"/>
                <a:gd name="T33" fmla="*/ 75 h 107"/>
                <a:gd name="T34" fmla="*/ 16 w 109"/>
                <a:gd name="T35" fmla="*/ 92 h 107"/>
                <a:gd name="T36" fmla="*/ 34 w 109"/>
                <a:gd name="T37" fmla="*/ 10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9" h="107">
                  <a:moveTo>
                    <a:pt x="34" y="104"/>
                  </a:moveTo>
                  <a:lnTo>
                    <a:pt x="34" y="104"/>
                  </a:lnTo>
                  <a:cubicBezTo>
                    <a:pt x="36" y="105"/>
                    <a:pt x="39" y="106"/>
                    <a:pt x="42" y="107"/>
                  </a:cubicBezTo>
                  <a:lnTo>
                    <a:pt x="67" y="107"/>
                  </a:lnTo>
                  <a:cubicBezTo>
                    <a:pt x="70" y="106"/>
                    <a:pt x="73" y="105"/>
                    <a:pt x="76" y="104"/>
                  </a:cubicBezTo>
                  <a:cubicBezTo>
                    <a:pt x="82" y="101"/>
                    <a:pt x="88" y="97"/>
                    <a:pt x="93" y="92"/>
                  </a:cubicBezTo>
                  <a:cubicBezTo>
                    <a:pt x="98" y="87"/>
                    <a:pt x="102" y="81"/>
                    <a:pt x="104" y="75"/>
                  </a:cubicBezTo>
                  <a:cubicBezTo>
                    <a:pt x="107" y="68"/>
                    <a:pt x="109" y="61"/>
                    <a:pt x="109" y="54"/>
                  </a:cubicBezTo>
                  <a:cubicBezTo>
                    <a:pt x="109" y="47"/>
                    <a:pt x="107" y="40"/>
                    <a:pt x="104" y="33"/>
                  </a:cubicBezTo>
                  <a:cubicBezTo>
                    <a:pt x="102" y="26"/>
                    <a:pt x="98" y="21"/>
                    <a:pt x="93" y="16"/>
                  </a:cubicBezTo>
                  <a:cubicBezTo>
                    <a:pt x="88" y="11"/>
                    <a:pt x="82" y="7"/>
                    <a:pt x="76" y="4"/>
                  </a:cubicBezTo>
                  <a:cubicBezTo>
                    <a:pt x="69" y="1"/>
                    <a:pt x="62" y="0"/>
                    <a:pt x="55" y="0"/>
                  </a:cubicBezTo>
                  <a:cubicBezTo>
                    <a:pt x="47" y="0"/>
                    <a:pt x="40" y="1"/>
                    <a:pt x="34" y="4"/>
                  </a:cubicBezTo>
                  <a:cubicBezTo>
                    <a:pt x="27" y="7"/>
                    <a:pt x="21" y="11"/>
                    <a:pt x="16" y="16"/>
                  </a:cubicBezTo>
                  <a:cubicBezTo>
                    <a:pt x="12" y="21"/>
                    <a:pt x="8" y="26"/>
                    <a:pt x="5" y="33"/>
                  </a:cubicBezTo>
                  <a:cubicBezTo>
                    <a:pt x="2" y="40"/>
                    <a:pt x="0" y="47"/>
                    <a:pt x="0" y="54"/>
                  </a:cubicBezTo>
                  <a:cubicBezTo>
                    <a:pt x="0" y="61"/>
                    <a:pt x="2" y="68"/>
                    <a:pt x="5" y="75"/>
                  </a:cubicBezTo>
                  <a:cubicBezTo>
                    <a:pt x="8" y="81"/>
                    <a:pt x="12" y="87"/>
                    <a:pt x="16" y="92"/>
                  </a:cubicBezTo>
                  <a:cubicBezTo>
                    <a:pt x="21" y="97"/>
                    <a:pt x="27" y="101"/>
                    <a:pt x="34" y="104"/>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7" name="Freeform 84">
              <a:extLst>
                <a:ext uri="{FF2B5EF4-FFF2-40B4-BE49-F238E27FC236}">
                  <a16:creationId xmlns:a16="http://schemas.microsoft.com/office/drawing/2014/main" id="{0CF2327C-A973-418D-87ED-6EF8A212690D}"/>
                </a:ext>
              </a:extLst>
            </p:cNvPr>
            <p:cNvSpPr>
              <a:spLocks/>
            </p:cNvSpPr>
            <p:nvPr/>
          </p:nvSpPr>
          <p:spPr bwMode="auto">
            <a:xfrm>
              <a:off x="8678863" y="8037513"/>
              <a:ext cx="296863" cy="141287"/>
            </a:xfrm>
            <a:custGeom>
              <a:avLst/>
              <a:gdLst>
                <a:gd name="T0" fmla="*/ 113 w 162"/>
                <a:gd name="T1" fmla="*/ 6 h 77"/>
                <a:gd name="T2" fmla="*/ 113 w 162"/>
                <a:gd name="T3" fmla="*/ 6 h 77"/>
                <a:gd name="T4" fmla="*/ 81 w 162"/>
                <a:gd name="T5" fmla="*/ 0 h 77"/>
                <a:gd name="T6" fmla="*/ 49 w 162"/>
                <a:gd name="T7" fmla="*/ 6 h 77"/>
                <a:gd name="T8" fmla="*/ 23 w 162"/>
                <a:gd name="T9" fmla="*/ 24 h 77"/>
                <a:gd name="T10" fmla="*/ 6 w 162"/>
                <a:gd name="T11" fmla="*/ 49 h 77"/>
                <a:gd name="T12" fmla="*/ 0 w 162"/>
                <a:gd name="T13" fmla="*/ 77 h 77"/>
                <a:gd name="T14" fmla="*/ 162 w 162"/>
                <a:gd name="T15" fmla="*/ 77 h 77"/>
                <a:gd name="T16" fmla="*/ 156 w 162"/>
                <a:gd name="T17" fmla="*/ 49 h 77"/>
                <a:gd name="T18" fmla="*/ 138 w 162"/>
                <a:gd name="T19" fmla="*/ 23 h 77"/>
                <a:gd name="T20" fmla="*/ 113 w 162"/>
                <a:gd name="T21"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2" h="77">
                  <a:moveTo>
                    <a:pt x="113" y="6"/>
                  </a:moveTo>
                  <a:lnTo>
                    <a:pt x="113" y="6"/>
                  </a:lnTo>
                  <a:cubicBezTo>
                    <a:pt x="103" y="2"/>
                    <a:pt x="92" y="0"/>
                    <a:pt x="81" y="0"/>
                  </a:cubicBezTo>
                  <a:cubicBezTo>
                    <a:pt x="69" y="0"/>
                    <a:pt x="59" y="2"/>
                    <a:pt x="49" y="6"/>
                  </a:cubicBezTo>
                  <a:cubicBezTo>
                    <a:pt x="39" y="11"/>
                    <a:pt x="30" y="16"/>
                    <a:pt x="23" y="24"/>
                  </a:cubicBezTo>
                  <a:cubicBezTo>
                    <a:pt x="16" y="31"/>
                    <a:pt x="10" y="40"/>
                    <a:pt x="6" y="49"/>
                  </a:cubicBezTo>
                  <a:cubicBezTo>
                    <a:pt x="2" y="58"/>
                    <a:pt x="0" y="67"/>
                    <a:pt x="0" y="77"/>
                  </a:cubicBezTo>
                  <a:lnTo>
                    <a:pt x="162" y="77"/>
                  </a:lnTo>
                  <a:cubicBezTo>
                    <a:pt x="161" y="67"/>
                    <a:pt x="159" y="58"/>
                    <a:pt x="156" y="49"/>
                  </a:cubicBezTo>
                  <a:cubicBezTo>
                    <a:pt x="151" y="39"/>
                    <a:pt x="146" y="31"/>
                    <a:pt x="138" y="23"/>
                  </a:cubicBezTo>
                  <a:cubicBezTo>
                    <a:pt x="131" y="16"/>
                    <a:pt x="123" y="10"/>
                    <a:pt x="113" y="6"/>
                  </a:cubicBezTo>
                  <a:close/>
                </a:path>
              </a:pathLst>
            </a:custGeom>
            <a:solidFill>
              <a:srgbClr val="C1C1C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398" name="Rectangle 1397">
            <a:extLst>
              <a:ext uri="{FF2B5EF4-FFF2-40B4-BE49-F238E27FC236}">
                <a16:creationId xmlns:a16="http://schemas.microsoft.com/office/drawing/2014/main" id="{298C9A42-642C-4574-9757-CBFD1C83CD0E}"/>
              </a:ext>
            </a:extLst>
          </p:cNvPr>
          <p:cNvSpPr/>
          <p:nvPr/>
        </p:nvSpPr>
        <p:spPr>
          <a:xfrm>
            <a:off x="4527395" y="10138558"/>
            <a:ext cx="2875118" cy="1041311"/>
          </a:xfrm>
          <a:prstGeom prst="rect">
            <a:avLst/>
          </a:prstGeom>
        </p:spPr>
        <p:txBody>
          <a:bodyPr wrap="square" lIns="0" tIns="0" rIns="0" bIns="0">
            <a:spAutoFit/>
          </a:bodyPr>
          <a:lstStyle/>
          <a:p>
            <a:pPr>
              <a:spcBef>
                <a:spcPts val="200"/>
              </a:spcBef>
            </a:pPr>
            <a:r>
              <a:rPr lang="en-US" sz="1400">
                <a:solidFill>
                  <a:schemeClr val="accent1"/>
                </a:solidFill>
                <a:cs typeface="Segoe UI Light" panose="020B0502040204020203" pitchFamily="34" charset="0"/>
              </a:rPr>
              <a:t>Sales always have room to generate more and effective sales and building on current relationships as well as establishing new ones.</a:t>
            </a:r>
          </a:p>
          <a:p>
            <a:pPr marL="684213" indent="915988">
              <a:spcBef>
                <a:spcPts val="200"/>
              </a:spcBef>
            </a:pPr>
            <a:r>
              <a:rPr lang="en-US" sz="1000">
                <a:solidFill>
                  <a:schemeClr val="accent1"/>
                </a:solidFill>
              </a:rPr>
              <a:t>         -</a:t>
            </a:r>
            <a:r>
              <a:rPr lang="en-US" sz="1000">
                <a:solidFill>
                  <a:schemeClr val="accent1"/>
                </a:solidFill>
                <a:latin typeface="+mj-lt"/>
              </a:rPr>
              <a:t>Sales Manager</a:t>
            </a:r>
          </a:p>
        </p:txBody>
      </p:sp>
      <p:pic>
        <p:nvPicPr>
          <p:cNvPr id="1400" name="Graphic 1399">
            <a:extLst>
              <a:ext uri="{FF2B5EF4-FFF2-40B4-BE49-F238E27FC236}">
                <a16:creationId xmlns:a16="http://schemas.microsoft.com/office/drawing/2014/main" id="{02647432-DEF7-400D-8827-424629F682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303875" y="10553332"/>
            <a:ext cx="164549" cy="130632"/>
          </a:xfrm>
          <a:prstGeom prst="rect">
            <a:avLst/>
          </a:prstGeom>
        </p:spPr>
      </p:pic>
      <p:pic>
        <p:nvPicPr>
          <p:cNvPr id="1401" name="Graphic 1400">
            <a:extLst>
              <a:ext uri="{FF2B5EF4-FFF2-40B4-BE49-F238E27FC236}">
                <a16:creationId xmlns:a16="http://schemas.microsoft.com/office/drawing/2014/main" id="{6D5671BB-B843-4E91-961C-45FCA6E4E3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7422907" y="10830133"/>
            <a:ext cx="164549" cy="130632"/>
          </a:xfrm>
          <a:prstGeom prst="rect">
            <a:avLst/>
          </a:prstGeom>
        </p:spPr>
      </p:pic>
      <p:sp>
        <p:nvSpPr>
          <p:cNvPr id="1403" name="TextBox 1402">
            <a:extLst>
              <a:ext uri="{FF2B5EF4-FFF2-40B4-BE49-F238E27FC236}">
                <a16:creationId xmlns:a16="http://schemas.microsoft.com/office/drawing/2014/main" id="{C90B880B-A213-46E8-9C04-3D37CC8B366F}"/>
              </a:ext>
            </a:extLst>
          </p:cNvPr>
          <p:cNvSpPr txBox="1"/>
          <p:nvPr/>
        </p:nvSpPr>
        <p:spPr>
          <a:xfrm>
            <a:off x="4306886" y="11552239"/>
            <a:ext cx="3465514" cy="210314"/>
          </a:xfrm>
          <a:prstGeom prst="rect">
            <a:avLst/>
          </a:prstGeom>
          <a:noFill/>
        </p:spPr>
        <p:txBody>
          <a:bodyPr wrap="square" lIns="0" tIns="0" rIns="0" bIns="0" rtlCol="0">
            <a:spAutoFit/>
          </a:bodyPr>
          <a:lstStyle/>
          <a:p>
            <a:pPr>
              <a:spcBef>
                <a:spcPts val="200"/>
              </a:spcBef>
            </a:pPr>
            <a:r>
              <a:rPr lang="en-US" sz="600"/>
              <a:t>Source: The power of relationship selling: How leveraging technology and personal relationships</a:t>
            </a:r>
          </a:p>
          <a:p>
            <a:pPr>
              <a:spcBef>
                <a:spcPts val="200"/>
              </a:spcBef>
            </a:pPr>
            <a:r>
              <a:rPr lang="en-US" sz="600"/>
              <a:t>means sales success for top organizations, Microsoft Dynamics 365 and Heinz Marketing, 2019</a:t>
            </a:r>
          </a:p>
        </p:txBody>
      </p:sp>
      <p:grpSp>
        <p:nvGrpSpPr>
          <p:cNvPr id="573" name="Group 572">
            <a:extLst>
              <a:ext uri="{FF2B5EF4-FFF2-40B4-BE49-F238E27FC236}">
                <a16:creationId xmlns:a16="http://schemas.microsoft.com/office/drawing/2014/main" id="{620C2A1E-027E-4FDA-A2C6-6D727655A40E}"/>
              </a:ext>
            </a:extLst>
          </p:cNvPr>
          <p:cNvGrpSpPr/>
          <p:nvPr/>
        </p:nvGrpSpPr>
        <p:grpSpPr>
          <a:xfrm>
            <a:off x="6103923" y="3285946"/>
            <a:ext cx="703283" cy="670731"/>
            <a:chOff x="6968150" y="3875652"/>
            <a:chExt cx="703283" cy="670731"/>
          </a:xfrm>
        </p:grpSpPr>
        <p:sp>
          <p:nvSpPr>
            <p:cNvPr id="414" name="Freeform: Shape 413">
              <a:extLst>
                <a:ext uri="{FF2B5EF4-FFF2-40B4-BE49-F238E27FC236}">
                  <a16:creationId xmlns:a16="http://schemas.microsoft.com/office/drawing/2014/main" id="{6BBB53C6-8B4C-46B8-9595-E94B58B1F568}"/>
                </a:ext>
              </a:extLst>
            </p:cNvPr>
            <p:cNvSpPr/>
            <p:nvPr/>
          </p:nvSpPr>
          <p:spPr>
            <a:xfrm>
              <a:off x="6971651" y="3876977"/>
              <a:ext cx="657421" cy="669406"/>
            </a:xfrm>
            <a:custGeom>
              <a:avLst/>
              <a:gdLst>
                <a:gd name="connsiteX0" fmla="*/ 642707 w 657421"/>
                <a:gd name="connsiteY0" fmla="*/ 391048 h 669406"/>
                <a:gd name="connsiteX1" fmla="*/ 238548 w 657421"/>
                <a:gd name="connsiteY1" fmla="*/ 2314 h 669406"/>
                <a:gd name="connsiteX2" fmla="*/ 227236 w 657421"/>
                <a:gd name="connsiteY2" fmla="*/ 2314 h 669406"/>
                <a:gd name="connsiteX3" fmla="*/ 2255 w 657421"/>
                <a:gd name="connsiteY3" fmla="*/ 231093 h 669406"/>
                <a:gd name="connsiteX4" fmla="*/ 2255 w 657421"/>
                <a:gd name="connsiteY4" fmla="*/ 242642 h 669406"/>
                <a:gd name="connsiteX5" fmla="*/ 319000 w 657421"/>
                <a:gd name="connsiteY5" fmla="*/ 636834 h 669406"/>
                <a:gd name="connsiteX6" fmla="*/ 336325 w 657421"/>
                <a:gd name="connsiteY6" fmla="*/ 654396 h 669406"/>
                <a:gd name="connsiteX7" fmla="*/ 407205 w 657421"/>
                <a:gd name="connsiteY7" fmla="*/ 654396 h 669406"/>
                <a:gd name="connsiteX8" fmla="*/ 407205 w 657421"/>
                <a:gd name="connsiteY8" fmla="*/ 582329 h 669406"/>
                <a:gd name="connsiteX9" fmla="*/ 430858 w 657421"/>
                <a:gd name="connsiteY9" fmla="*/ 606378 h 669406"/>
                <a:gd name="connsiteX10" fmla="*/ 501738 w 657421"/>
                <a:gd name="connsiteY10" fmla="*/ 606378 h 669406"/>
                <a:gd name="connsiteX11" fmla="*/ 501738 w 657421"/>
                <a:gd name="connsiteY11" fmla="*/ 534311 h 669406"/>
                <a:gd name="connsiteX12" fmla="*/ 572618 w 657421"/>
                <a:gd name="connsiteY12" fmla="*/ 534311 h 669406"/>
                <a:gd name="connsiteX13" fmla="*/ 571827 w 657421"/>
                <a:gd name="connsiteY13" fmla="*/ 463273 h 669406"/>
                <a:gd name="connsiteX14" fmla="*/ 571827 w 657421"/>
                <a:gd name="connsiteY14" fmla="*/ 463273 h 669406"/>
                <a:gd name="connsiteX15" fmla="*/ 642707 w 657421"/>
                <a:gd name="connsiteY15" fmla="*/ 463273 h 669406"/>
                <a:gd name="connsiteX16" fmla="*/ 642707 w 657421"/>
                <a:gd name="connsiteY16" fmla="*/ 391048 h 669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7421" h="669406">
                  <a:moveTo>
                    <a:pt x="642707" y="391048"/>
                  </a:moveTo>
                  <a:cubicBezTo>
                    <a:pt x="599752" y="349121"/>
                    <a:pt x="280159" y="44557"/>
                    <a:pt x="238548" y="2314"/>
                  </a:cubicBezTo>
                  <a:cubicBezTo>
                    <a:pt x="235542" y="-771"/>
                    <a:pt x="230242" y="-771"/>
                    <a:pt x="227236" y="2314"/>
                  </a:cubicBezTo>
                  <a:cubicBezTo>
                    <a:pt x="227236" y="2314"/>
                    <a:pt x="227236" y="2314"/>
                    <a:pt x="2255" y="231093"/>
                  </a:cubicBezTo>
                  <a:cubicBezTo>
                    <a:pt x="-752" y="234178"/>
                    <a:pt x="-752" y="239557"/>
                    <a:pt x="2255" y="242642"/>
                  </a:cubicBezTo>
                  <a:lnTo>
                    <a:pt x="319000" y="636834"/>
                  </a:lnTo>
                  <a:lnTo>
                    <a:pt x="336325" y="654396"/>
                  </a:lnTo>
                  <a:cubicBezTo>
                    <a:pt x="356022" y="674410"/>
                    <a:pt x="387744" y="674410"/>
                    <a:pt x="407205" y="654396"/>
                  </a:cubicBezTo>
                  <a:cubicBezTo>
                    <a:pt x="426903" y="634619"/>
                    <a:pt x="426903" y="602265"/>
                    <a:pt x="407205" y="582329"/>
                  </a:cubicBezTo>
                  <a:cubicBezTo>
                    <a:pt x="430858" y="606378"/>
                    <a:pt x="430858" y="606378"/>
                    <a:pt x="430858" y="606378"/>
                  </a:cubicBezTo>
                  <a:cubicBezTo>
                    <a:pt x="450556" y="626392"/>
                    <a:pt x="482278" y="626392"/>
                    <a:pt x="501738" y="606378"/>
                  </a:cubicBezTo>
                  <a:cubicBezTo>
                    <a:pt x="521436" y="586601"/>
                    <a:pt x="521436" y="554246"/>
                    <a:pt x="501738" y="534311"/>
                  </a:cubicBezTo>
                  <a:cubicBezTo>
                    <a:pt x="521436" y="554325"/>
                    <a:pt x="553158" y="554325"/>
                    <a:pt x="572618" y="534311"/>
                  </a:cubicBezTo>
                  <a:cubicBezTo>
                    <a:pt x="592316" y="514534"/>
                    <a:pt x="591525" y="483287"/>
                    <a:pt x="571827" y="463273"/>
                  </a:cubicBezTo>
                  <a:cubicBezTo>
                    <a:pt x="558379" y="449666"/>
                    <a:pt x="571827" y="463273"/>
                    <a:pt x="571827" y="463273"/>
                  </a:cubicBezTo>
                  <a:cubicBezTo>
                    <a:pt x="591525" y="483287"/>
                    <a:pt x="623247" y="483287"/>
                    <a:pt x="642707" y="463273"/>
                  </a:cubicBezTo>
                  <a:cubicBezTo>
                    <a:pt x="662326" y="443338"/>
                    <a:pt x="662326" y="411062"/>
                    <a:pt x="642707" y="391048"/>
                  </a:cubicBezTo>
                  <a:close/>
                </a:path>
              </a:pathLst>
            </a:custGeom>
            <a:solidFill>
              <a:schemeClr val="accent1"/>
            </a:solidFill>
            <a:ln w="7813" cap="flat">
              <a:noFill/>
              <a:prstDash val="solid"/>
              <a:miter/>
            </a:ln>
          </p:spPr>
          <p:txBody>
            <a:bodyPr rtlCol="0" anchor="ctr"/>
            <a:lstStyle/>
            <a:p>
              <a:endParaRPr lang="en-US"/>
            </a:p>
          </p:txBody>
        </p:sp>
        <p:sp>
          <p:nvSpPr>
            <p:cNvPr id="568" name="Freeform: Shape 567">
              <a:extLst>
                <a:ext uri="{FF2B5EF4-FFF2-40B4-BE49-F238E27FC236}">
                  <a16:creationId xmlns:a16="http://schemas.microsoft.com/office/drawing/2014/main" id="{59F87797-43B4-4A1C-8E51-D0E400AF792E}"/>
                </a:ext>
              </a:extLst>
            </p:cNvPr>
            <p:cNvSpPr/>
            <p:nvPr/>
          </p:nvSpPr>
          <p:spPr>
            <a:xfrm>
              <a:off x="7039109" y="4257997"/>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69" name="Freeform: Shape 568">
              <a:extLst>
                <a:ext uri="{FF2B5EF4-FFF2-40B4-BE49-F238E27FC236}">
                  <a16:creationId xmlns:a16="http://schemas.microsoft.com/office/drawing/2014/main" id="{850D7AEE-D85F-41DB-B0A2-0080C1064E4D}"/>
                </a:ext>
              </a:extLst>
            </p:cNvPr>
            <p:cNvSpPr/>
            <p:nvPr/>
          </p:nvSpPr>
          <p:spPr>
            <a:xfrm>
              <a:off x="7109990" y="4330064"/>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70" name="Freeform: Shape 569">
              <a:extLst>
                <a:ext uri="{FF2B5EF4-FFF2-40B4-BE49-F238E27FC236}">
                  <a16:creationId xmlns:a16="http://schemas.microsoft.com/office/drawing/2014/main" id="{F02E5B41-5620-48A0-8D28-3F6753B888DA}"/>
                </a:ext>
              </a:extLst>
            </p:cNvPr>
            <p:cNvSpPr/>
            <p:nvPr/>
          </p:nvSpPr>
          <p:spPr>
            <a:xfrm>
              <a:off x="7180870" y="4402131"/>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sp>
          <p:nvSpPr>
            <p:cNvPr id="571" name="Freeform: Shape 570">
              <a:extLst>
                <a:ext uri="{FF2B5EF4-FFF2-40B4-BE49-F238E27FC236}">
                  <a16:creationId xmlns:a16="http://schemas.microsoft.com/office/drawing/2014/main" id="{1FC2CAA6-DBBC-4400-9451-8A4B02B22340}"/>
                </a:ext>
              </a:extLst>
            </p:cNvPr>
            <p:cNvSpPr/>
            <p:nvPr/>
          </p:nvSpPr>
          <p:spPr>
            <a:xfrm>
              <a:off x="7155061" y="3875652"/>
              <a:ext cx="516372" cy="348468"/>
            </a:xfrm>
            <a:custGeom>
              <a:avLst/>
              <a:gdLst>
                <a:gd name="connsiteX0" fmla="*/ 514118 w 516372"/>
                <a:gd name="connsiteY0" fmla="*/ 234553 h 348468"/>
                <a:gd name="connsiteX1" fmla="*/ 283521 w 516372"/>
                <a:gd name="connsiteY1" fmla="*/ 0 h 348468"/>
                <a:gd name="connsiteX2" fmla="*/ 77446 w 516372"/>
                <a:gd name="connsiteY2" fmla="*/ 69773 h 348468"/>
                <a:gd name="connsiteX3" fmla="*/ 72937 w 516372"/>
                <a:gd name="connsiteY3" fmla="*/ 73965 h 348468"/>
                <a:gd name="connsiteX4" fmla="*/ 5854 w 516372"/>
                <a:gd name="connsiteY4" fmla="*/ 210268 h 348468"/>
                <a:gd name="connsiteX5" fmla="*/ 0 w 516372"/>
                <a:gd name="connsiteY5" fmla="*/ 240249 h 348468"/>
                <a:gd name="connsiteX6" fmla="*/ 13765 w 516372"/>
                <a:gd name="connsiteY6" fmla="*/ 274265 h 348468"/>
                <a:gd name="connsiteX7" fmla="*/ 47227 w 516372"/>
                <a:gd name="connsiteY7" fmla="*/ 288267 h 348468"/>
                <a:gd name="connsiteX8" fmla="*/ 118107 w 516372"/>
                <a:gd name="connsiteY8" fmla="*/ 216201 h 348468"/>
                <a:gd name="connsiteX9" fmla="*/ 188987 w 516372"/>
                <a:gd name="connsiteY9" fmla="*/ 144134 h 348468"/>
                <a:gd name="connsiteX10" fmla="*/ 218415 w 516372"/>
                <a:gd name="connsiteY10" fmla="*/ 161379 h 348468"/>
                <a:gd name="connsiteX11" fmla="*/ 413573 w 516372"/>
                <a:gd name="connsiteY11" fmla="*/ 348468 h 348468"/>
                <a:gd name="connsiteX12" fmla="*/ 514118 w 516372"/>
                <a:gd name="connsiteY12" fmla="*/ 246024 h 348468"/>
                <a:gd name="connsiteX13" fmla="*/ 514118 w 516372"/>
                <a:gd name="connsiteY13" fmla="*/ 234553 h 34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6372" h="348468">
                  <a:moveTo>
                    <a:pt x="514118" y="234553"/>
                  </a:moveTo>
                  <a:cubicBezTo>
                    <a:pt x="283521" y="0"/>
                    <a:pt x="283521" y="0"/>
                    <a:pt x="283521" y="0"/>
                  </a:cubicBezTo>
                  <a:cubicBezTo>
                    <a:pt x="77446" y="69773"/>
                    <a:pt x="77446" y="69773"/>
                    <a:pt x="77446" y="69773"/>
                  </a:cubicBezTo>
                  <a:cubicBezTo>
                    <a:pt x="75547" y="70564"/>
                    <a:pt x="73886" y="72067"/>
                    <a:pt x="72937" y="73965"/>
                  </a:cubicBezTo>
                  <a:cubicBezTo>
                    <a:pt x="5854" y="210268"/>
                    <a:pt x="5854" y="210268"/>
                    <a:pt x="5854" y="210268"/>
                  </a:cubicBezTo>
                  <a:cubicBezTo>
                    <a:pt x="2057" y="219523"/>
                    <a:pt x="0" y="229649"/>
                    <a:pt x="0" y="240249"/>
                  </a:cubicBezTo>
                  <a:cubicBezTo>
                    <a:pt x="0" y="253539"/>
                    <a:pt x="5300" y="265643"/>
                    <a:pt x="13765" y="274265"/>
                  </a:cubicBezTo>
                  <a:cubicBezTo>
                    <a:pt x="22229" y="282888"/>
                    <a:pt x="34174" y="288267"/>
                    <a:pt x="47227" y="288267"/>
                  </a:cubicBezTo>
                  <a:cubicBezTo>
                    <a:pt x="86385" y="288267"/>
                    <a:pt x="118107" y="255992"/>
                    <a:pt x="118107" y="216201"/>
                  </a:cubicBezTo>
                  <a:cubicBezTo>
                    <a:pt x="118107" y="176410"/>
                    <a:pt x="149829" y="144134"/>
                    <a:pt x="188987" y="144134"/>
                  </a:cubicBezTo>
                  <a:cubicBezTo>
                    <a:pt x="201882" y="144134"/>
                    <a:pt x="218415" y="161379"/>
                    <a:pt x="218415" y="161379"/>
                  </a:cubicBezTo>
                  <a:lnTo>
                    <a:pt x="413573" y="348468"/>
                  </a:lnTo>
                  <a:lnTo>
                    <a:pt x="514118" y="246024"/>
                  </a:lnTo>
                  <a:cubicBezTo>
                    <a:pt x="517124" y="243018"/>
                    <a:pt x="517124" y="237560"/>
                    <a:pt x="514118" y="234553"/>
                  </a:cubicBezTo>
                  <a:close/>
                </a:path>
              </a:pathLst>
            </a:custGeom>
            <a:solidFill>
              <a:srgbClr val="C1C1C1"/>
            </a:solidFill>
            <a:ln w="7813" cap="flat">
              <a:noFill/>
              <a:prstDash val="solid"/>
              <a:miter/>
            </a:ln>
          </p:spPr>
          <p:txBody>
            <a:bodyPr rtlCol="0" anchor="ctr"/>
            <a:lstStyle/>
            <a:p>
              <a:endParaRPr lang="en-US"/>
            </a:p>
          </p:txBody>
        </p:sp>
        <p:sp>
          <p:nvSpPr>
            <p:cNvPr id="572" name="Freeform: Shape 571">
              <a:extLst>
                <a:ext uri="{FF2B5EF4-FFF2-40B4-BE49-F238E27FC236}">
                  <a16:creationId xmlns:a16="http://schemas.microsoft.com/office/drawing/2014/main" id="{8C5C7668-5D50-49B2-A9B7-9140CA0933A6}"/>
                </a:ext>
              </a:extLst>
            </p:cNvPr>
            <p:cNvSpPr/>
            <p:nvPr/>
          </p:nvSpPr>
          <p:spPr>
            <a:xfrm>
              <a:off x="6968150" y="4185851"/>
              <a:ext cx="141799" cy="144173"/>
            </a:xfrm>
            <a:custGeom>
              <a:avLst/>
              <a:gdLst>
                <a:gd name="connsiteX0" fmla="*/ 14773 w 141799"/>
                <a:gd name="connsiteY0" fmla="*/ 57096 h 144173"/>
                <a:gd name="connsiteX1" fmla="*/ 14773 w 141799"/>
                <a:gd name="connsiteY1" fmla="*/ 129163 h 144173"/>
                <a:gd name="connsiteX2" fmla="*/ 85653 w 141799"/>
                <a:gd name="connsiteY2" fmla="*/ 129163 h 144173"/>
                <a:gd name="connsiteX3" fmla="*/ 127027 w 141799"/>
                <a:gd name="connsiteY3" fmla="*/ 87077 h 144173"/>
                <a:gd name="connsiteX4" fmla="*/ 127027 w 141799"/>
                <a:gd name="connsiteY4" fmla="*/ 15011 h 144173"/>
                <a:gd name="connsiteX5" fmla="*/ 56146 w 141799"/>
                <a:gd name="connsiteY5" fmla="*/ 15011 h 144173"/>
                <a:gd name="connsiteX6" fmla="*/ 14773 w 141799"/>
                <a:gd name="connsiteY6" fmla="*/ 57096 h 144173"/>
                <a:gd name="connsiteX7" fmla="*/ 14773 w 141799"/>
                <a:gd name="connsiteY7" fmla="*/ 57096 h 144173"/>
                <a:gd name="connsiteX8" fmla="*/ 14773 w 141799"/>
                <a:gd name="connsiteY8" fmla="*/ 57096 h 1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799" h="144173">
                  <a:moveTo>
                    <a:pt x="14773" y="57096"/>
                  </a:moveTo>
                  <a:cubicBezTo>
                    <a:pt x="-4924" y="77110"/>
                    <a:pt x="-4924" y="109386"/>
                    <a:pt x="14773" y="129163"/>
                  </a:cubicBezTo>
                  <a:cubicBezTo>
                    <a:pt x="34234" y="149177"/>
                    <a:pt x="66035" y="149177"/>
                    <a:pt x="85653" y="129163"/>
                  </a:cubicBezTo>
                  <a:cubicBezTo>
                    <a:pt x="127027" y="87077"/>
                    <a:pt x="127027" y="87077"/>
                    <a:pt x="127027" y="87077"/>
                  </a:cubicBezTo>
                  <a:cubicBezTo>
                    <a:pt x="146724" y="67063"/>
                    <a:pt x="146724" y="34787"/>
                    <a:pt x="127027" y="15011"/>
                  </a:cubicBezTo>
                  <a:cubicBezTo>
                    <a:pt x="107566" y="-5004"/>
                    <a:pt x="75765" y="-5004"/>
                    <a:pt x="56146" y="15011"/>
                  </a:cubicBezTo>
                  <a:lnTo>
                    <a:pt x="14773" y="57096"/>
                  </a:lnTo>
                  <a:lnTo>
                    <a:pt x="14773" y="57096"/>
                  </a:lnTo>
                  <a:lnTo>
                    <a:pt x="14773" y="57096"/>
                  </a:lnTo>
                  <a:close/>
                </a:path>
              </a:pathLst>
            </a:custGeom>
            <a:solidFill>
              <a:srgbClr val="C1C1C1"/>
            </a:solidFill>
            <a:ln w="7813" cap="flat">
              <a:noFill/>
              <a:prstDash val="solid"/>
              <a:miter/>
            </a:ln>
          </p:spPr>
          <p:txBody>
            <a:bodyPr rtlCol="0" anchor="ctr"/>
            <a:lstStyle/>
            <a:p>
              <a:endParaRPr lang="en-US"/>
            </a:p>
          </p:txBody>
        </p:sp>
      </p:grpSp>
    </p:spTree>
    <p:extLst>
      <p:ext uri="{BB962C8B-B14F-4D97-AF65-F5344CB8AC3E}">
        <p14:creationId xmlns:p14="http://schemas.microsoft.com/office/powerpoint/2010/main" val="105419355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F3BC782-4A06-498C-B87A-774AF2CF606D}">
  <ds:schemaRefs>
    <ds:schemaRef ds:uri="0c1a6c9c-f016-4857-bf43-21b252e701d9"/>
    <ds:schemaRef ds:uri="7a20bb1a-2526-436b-a0aa-406322af6dc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4EB65F1-C075-4A10-9929-5B69CDDFD0A4}"/>
</file>

<file path=customXml/itemProps3.xml><?xml version="1.0" encoding="utf-8"?>
<ds:datastoreItem xmlns:ds="http://schemas.openxmlformats.org/officeDocument/2006/customXml" ds:itemID="{94866A8F-5900-4C31-84DB-6148C63774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Custom</PresentationFormat>
  <Slides>1</Slides>
  <Notes>1</Notes>
  <HiddenSlides>0</HiddenSlide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White Templat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revision>1</cp:revision>
  <cp:lastPrinted>2013-10-01T16:28:23Z</cp:lastPrinted>
  <dcterms:created xsi:type="dcterms:W3CDTF">2017-01-28T00:11:29Z</dcterms:created>
  <dcterms:modified xsi:type="dcterms:W3CDTF">2020-06-22T19:36: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525800</vt:r8>
  </property>
  <property fmtid="{D5CDD505-2E9C-101B-9397-08002B2CF9AE}" pid="3" name="MSIP_Label_f42aa342-8706-4288-bd11-ebb85995028c_Application">
    <vt:lpwstr>Microsoft Azure Information Protection</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Enabled">
    <vt:lpwstr>True</vt:lpwstr>
  </property>
  <property fmtid="{D5CDD505-2E9C-101B-9397-08002B2CF9AE}" pid="6" name="Event Location">
    <vt:lpwstr/>
  </property>
  <property fmtid="{D5CDD505-2E9C-101B-9397-08002B2CF9AE}" pid="7" name="Campaign">
    <vt:lpwstr/>
  </property>
  <property fmtid="{D5CDD505-2E9C-101B-9397-08002B2CF9AE}" pid="8" name="IsMyDocuments">
    <vt:bool>true</vt:bool>
  </property>
  <property fmtid="{D5CDD505-2E9C-101B-9397-08002B2CF9AE}" pid="9" name="MSIP_Label_f42aa342-8706-4288-bd11-ebb85995028c_SiteId">
    <vt:lpwstr>72f988bf-86f1-41af-91ab-2d7cd011db47</vt:lpwstr>
  </property>
  <property fmtid="{D5CDD505-2E9C-101B-9397-08002B2CF9AE}" pid="10" name="Sensitivity">
    <vt:lpwstr>General</vt:lpwstr>
  </property>
  <property fmtid="{D5CDD505-2E9C-101B-9397-08002B2CF9AE}" pid="11" name="MSIP_Label_f42aa342-8706-4288-bd11-ebb85995028c_Name">
    <vt:lpwstr>General</vt:lpwstr>
  </property>
  <property fmtid="{D5CDD505-2E9C-101B-9397-08002B2CF9AE}" pid="12" name="Event Venue">
    <vt:lpwstr/>
  </property>
  <property fmtid="{D5CDD505-2E9C-101B-9397-08002B2CF9AE}" pid="13" name="MSIP_Label_f42aa342-8706-4288-bd11-ebb85995028c_SetDate">
    <vt:lpwstr>2017-08-29T14:27:20.8568347-07:00</vt:lpwstr>
  </property>
  <property fmtid="{D5CDD505-2E9C-101B-9397-08002B2CF9AE}" pid="14" name="Audience">
    <vt:lpwstr/>
  </property>
  <property fmtid="{D5CDD505-2E9C-101B-9397-08002B2CF9AE}" pid="15" name="MSIP_Label_f42aa342-8706-4288-bd11-ebb85995028c_Owner">
    <vt:lpwstr>maryfj@microsoft.com</vt:lpwstr>
  </property>
  <property fmtid="{D5CDD505-2E9C-101B-9397-08002B2CF9AE}" pid="16" name="ContentTypeId">
    <vt:lpwstr>0x010100BF2C28266A38B74BB8736D79589A967D</vt:lpwstr>
  </property>
  <property fmtid="{D5CDD505-2E9C-101B-9397-08002B2CF9AE}" pid="17" name="MSIP_Label_f42aa342-8706-4288-bd11-ebb85995028c_Extended_MSFT_Method">
    <vt:lpwstr>Automatic</vt:lpwstr>
  </property>
  <property fmtid="{D5CDD505-2E9C-101B-9397-08002B2CF9AE}" pid="18" name="Product">
    <vt:lpwstr/>
  </property>
  <property fmtid="{D5CDD505-2E9C-101B-9397-08002B2CF9AE}" pid="19" name="Track">
    <vt:lpwstr/>
  </property>
  <property fmtid="{D5CDD505-2E9C-101B-9397-08002B2CF9AE}" pid="20" name="Event1">
    <vt:lpwstr>622;#Unassigned|2c8af875-f38a-40b8-a0a9-056aed3fc8c0</vt:lpwstr>
  </property>
</Properties>
</file>